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fif" ContentType="image/jpeg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4"/>
  </p:notesMasterIdLst>
  <p:sldIdLst>
    <p:sldId id="1237" r:id="rId5"/>
    <p:sldId id="4147" r:id="rId6"/>
    <p:sldId id="4166" r:id="rId7"/>
    <p:sldId id="4148" r:id="rId8"/>
    <p:sldId id="4171" r:id="rId9"/>
    <p:sldId id="4173" r:id="rId10"/>
    <p:sldId id="4172" r:id="rId11"/>
    <p:sldId id="4160" r:id="rId12"/>
    <p:sldId id="271" r:id="rId1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E35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F7F6DC4-8955-4CCD-A6B5-658F62EF4981}" v="1" dt="2023-01-23T09:18:54.55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4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udarshan Reddy Chitke" userId="ba7d042e-9436-4352-bb23-22660067ead9" providerId="ADAL" clId="{AF7F6DC4-8955-4CCD-A6B5-658F62EF4981}"/>
    <pc:docChg chg="undo custSel modSld">
      <pc:chgData name="Sudarshan Reddy Chitke" userId="ba7d042e-9436-4352-bb23-22660067ead9" providerId="ADAL" clId="{AF7F6DC4-8955-4CCD-A6B5-658F62EF4981}" dt="2023-01-23T09:22:12.350" v="38" actId="14100"/>
      <pc:docMkLst>
        <pc:docMk/>
      </pc:docMkLst>
      <pc:sldChg chg="addSp delSp modSp mod">
        <pc:chgData name="Sudarshan Reddy Chitke" userId="ba7d042e-9436-4352-bb23-22660067ead9" providerId="ADAL" clId="{AF7F6DC4-8955-4CCD-A6B5-658F62EF4981}" dt="2023-01-23T09:22:12.350" v="38" actId="14100"/>
        <pc:sldMkLst>
          <pc:docMk/>
          <pc:sldMk cId="1613827577" sldId="4173"/>
        </pc:sldMkLst>
        <pc:spChg chg="del mod">
          <ac:chgData name="Sudarshan Reddy Chitke" userId="ba7d042e-9436-4352-bb23-22660067ead9" providerId="ADAL" clId="{AF7F6DC4-8955-4CCD-A6B5-658F62EF4981}" dt="2023-01-23T09:18:44.844" v="7"/>
          <ac:spMkLst>
            <pc:docMk/>
            <pc:sldMk cId="1613827577" sldId="4173"/>
            <ac:spMk id="4" creationId="{0D9A9AA5-59F7-ECB3-2965-BC6F98008243}"/>
          </ac:spMkLst>
        </pc:spChg>
        <pc:spChg chg="mod">
          <ac:chgData name="Sudarshan Reddy Chitke" userId="ba7d042e-9436-4352-bb23-22660067ead9" providerId="ADAL" clId="{AF7F6DC4-8955-4CCD-A6B5-658F62EF4981}" dt="2023-01-23T09:20:53.409" v="26" actId="14100"/>
          <ac:spMkLst>
            <pc:docMk/>
            <pc:sldMk cId="1613827577" sldId="4173"/>
            <ac:spMk id="31" creationId="{FC945B7A-BEEC-FC9B-BAF9-84DE6B29EDF0}"/>
          </ac:spMkLst>
        </pc:spChg>
        <pc:spChg chg="add mod">
          <ac:chgData name="Sudarshan Reddy Chitke" userId="ba7d042e-9436-4352-bb23-22660067ead9" providerId="ADAL" clId="{AF7F6DC4-8955-4CCD-A6B5-658F62EF4981}" dt="2023-01-23T09:22:12.350" v="38" actId="14100"/>
          <ac:spMkLst>
            <pc:docMk/>
            <pc:sldMk cId="1613827577" sldId="4173"/>
            <ac:spMk id="44" creationId="{1B1FCE2C-8B46-4903-1E2C-5B7A973315FE}"/>
          </ac:spMkLst>
        </pc:spChg>
        <pc:spChg chg="mod">
          <ac:chgData name="Sudarshan Reddy Chitke" userId="ba7d042e-9436-4352-bb23-22660067ead9" providerId="ADAL" clId="{AF7F6DC4-8955-4CCD-A6B5-658F62EF4981}" dt="2023-01-23T09:18:24.364" v="4" actId="14100"/>
          <ac:spMkLst>
            <pc:docMk/>
            <pc:sldMk cId="1613827577" sldId="4173"/>
            <ac:spMk id="59" creationId="{6E4FDF3C-B16D-77F4-533D-B67DA59952DB}"/>
          </ac:spMkLst>
        </pc:spChg>
        <pc:picChg chg="mod">
          <ac:chgData name="Sudarshan Reddy Chitke" userId="ba7d042e-9436-4352-bb23-22660067ead9" providerId="ADAL" clId="{AF7F6DC4-8955-4CCD-A6B5-658F62EF4981}" dt="2023-01-23T09:21:23.291" v="28" actId="1076"/>
          <ac:picMkLst>
            <pc:docMk/>
            <pc:sldMk cId="1613827577" sldId="4173"/>
            <ac:picMk id="12" creationId="{CD410F4D-F577-044F-04E3-18AA6B1D7BEC}"/>
          </ac:picMkLst>
        </pc:picChg>
        <pc:picChg chg="mod">
          <ac:chgData name="Sudarshan Reddy Chitke" userId="ba7d042e-9436-4352-bb23-22660067ead9" providerId="ADAL" clId="{AF7F6DC4-8955-4CCD-A6B5-658F62EF4981}" dt="2023-01-23T09:19:18.737" v="13" actId="1076"/>
          <ac:picMkLst>
            <pc:docMk/>
            <pc:sldMk cId="1613827577" sldId="4173"/>
            <ac:picMk id="30" creationId="{26A85049-1CB1-AD0B-2DE8-2B60EB3F01E1}"/>
          </ac:picMkLst>
        </pc:picChg>
        <pc:cxnChg chg="del">
          <ac:chgData name="Sudarshan Reddy Chitke" userId="ba7d042e-9436-4352-bb23-22660067ead9" providerId="ADAL" clId="{AF7F6DC4-8955-4CCD-A6B5-658F62EF4981}" dt="2023-01-23T09:19:13.848" v="12" actId="478"/>
          <ac:cxnSpMkLst>
            <pc:docMk/>
            <pc:sldMk cId="1613827577" sldId="4173"/>
            <ac:cxnSpMk id="22" creationId="{FE1246B6-73BE-F18E-B6D6-6B5069638CCC}"/>
          </ac:cxnSpMkLst>
        </pc:cxnChg>
        <pc:cxnChg chg="del">
          <ac:chgData name="Sudarshan Reddy Chitke" userId="ba7d042e-9436-4352-bb23-22660067ead9" providerId="ADAL" clId="{AF7F6DC4-8955-4CCD-A6B5-658F62EF4981}" dt="2023-01-23T09:20:06.159" v="17" actId="478"/>
          <ac:cxnSpMkLst>
            <pc:docMk/>
            <pc:sldMk cId="1613827577" sldId="4173"/>
            <ac:cxnSpMk id="28" creationId="{15E59805-B6A4-C06F-5786-2E1F36F829E4}"/>
          </ac:cxnSpMkLst>
        </pc:cxnChg>
        <pc:cxnChg chg="add mod">
          <ac:chgData name="Sudarshan Reddy Chitke" userId="ba7d042e-9436-4352-bb23-22660067ead9" providerId="ADAL" clId="{AF7F6DC4-8955-4CCD-A6B5-658F62EF4981}" dt="2023-01-23T09:21:33.420" v="31" actId="14100"/>
          <ac:cxnSpMkLst>
            <pc:docMk/>
            <pc:sldMk cId="1613827577" sldId="4173"/>
            <ac:cxnSpMk id="41" creationId="{91997078-DAEE-3E6D-B5B9-B7FC3AEB660C}"/>
          </ac:cxnSpMkLst>
        </pc:cxnChg>
        <pc:cxnChg chg="add mod">
          <ac:chgData name="Sudarshan Reddy Chitke" userId="ba7d042e-9436-4352-bb23-22660067ead9" providerId="ADAL" clId="{AF7F6DC4-8955-4CCD-A6B5-658F62EF4981}" dt="2023-01-23T09:21:40.656" v="33" actId="14100"/>
          <ac:cxnSpMkLst>
            <pc:docMk/>
            <pc:sldMk cId="1613827577" sldId="4173"/>
            <ac:cxnSpMk id="47" creationId="{C27BE418-B3C4-12B7-BE43-7AB1040D2BBD}"/>
          </ac:cxnSpMkLst>
        </pc:cxnChg>
        <pc:cxnChg chg="add">
          <ac:chgData name="Sudarshan Reddy Chitke" userId="ba7d042e-9436-4352-bb23-22660067ead9" providerId="ADAL" clId="{AF7F6DC4-8955-4CCD-A6B5-658F62EF4981}" dt="2023-01-23T09:21:05.602" v="27" actId="11529"/>
          <ac:cxnSpMkLst>
            <pc:docMk/>
            <pc:sldMk cId="1613827577" sldId="4173"/>
            <ac:cxnSpMk id="50" creationId="{CCE5C188-2CF3-3761-9405-05468456F282}"/>
          </ac:cxnSpMkLst>
        </pc:cxn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D:\Correction%20of%20Errors\CoE%20-%20Exec%20plans.xlsx" TargetMode="Externa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93D-45BA-B0E8-7F9E23F18511}"/>
              </c:ext>
            </c:extLst>
          </c:dPt>
          <c:dPt>
            <c:idx val="1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93D-45BA-B0E8-7F9E23F18511}"/>
              </c:ext>
            </c:extLst>
          </c:dPt>
          <c:dPt>
            <c:idx val="2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993D-45BA-B0E8-7F9E23F18511}"/>
              </c:ext>
            </c:extLst>
          </c:dPt>
          <c:cat>
            <c:strRef>
              <c:f>Sheet1!$K$4:$K$6</c:f>
              <c:strCache>
                <c:ptCount val="3"/>
                <c:pt idx="0">
                  <c:v>Design</c:v>
                </c:pt>
                <c:pt idx="1">
                  <c:v>Coding &amp; UT</c:v>
                </c:pt>
                <c:pt idx="2">
                  <c:v>Testing</c:v>
                </c:pt>
              </c:strCache>
            </c:strRef>
          </c:cat>
          <c:val>
            <c:numRef>
              <c:f>Sheet1!$L$4:$L$6</c:f>
              <c:numCache>
                <c:formatCode>0%</c:formatCode>
                <c:ptCount val="3"/>
                <c:pt idx="0">
                  <c:v>0.15</c:v>
                </c:pt>
                <c:pt idx="1">
                  <c:v>0.6</c:v>
                </c:pt>
                <c:pt idx="2">
                  <c:v>0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993D-45BA-B0E8-7F9E23F185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Gill Sans MT" panose="020B0502020104020203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47029</cdr:x>
      <cdr:y>0.04728</cdr:y>
    </cdr:from>
    <cdr:to>
      <cdr:x>0.52387</cdr:x>
      <cdr:y>0.13914</cdr:y>
    </cdr:to>
    <cdr:sp macro="" textlink="">
      <cdr:nvSpPr>
        <cdr:cNvPr id="2" name="Right Triangle 1">
          <a:extLst xmlns:a="http://schemas.openxmlformats.org/drawingml/2006/main">
            <a:ext uri="{FF2B5EF4-FFF2-40B4-BE49-F238E27FC236}">
              <a16:creationId xmlns:a16="http://schemas.microsoft.com/office/drawing/2014/main" id="{5794D824-D1AB-894A-B6F1-CCDBCB35A74E}"/>
            </a:ext>
          </a:extLst>
        </cdr:cNvPr>
        <cdr:cNvSpPr/>
      </cdr:nvSpPr>
      <cdr:spPr>
        <a:xfrm xmlns:a="http://schemas.openxmlformats.org/drawingml/2006/main" rot="13565873">
          <a:off x="2146650" y="133221"/>
          <a:ext cx="251988" cy="244936"/>
        </a:xfrm>
        <a:prstGeom xmlns:a="http://schemas.openxmlformats.org/drawingml/2006/main" prst="rtTriangle">
          <a:avLst/>
        </a:prstGeom>
        <a:solidFill xmlns:a="http://schemas.openxmlformats.org/drawingml/2006/main">
          <a:schemeClr val="accent2">
            <a:lumMod val="60000"/>
            <a:lumOff val="40000"/>
          </a:schemeClr>
        </a:solidFill>
        <a:ln xmlns:a="http://schemas.openxmlformats.org/drawingml/2006/main">
          <a:solidFill>
            <a:schemeClr val="accent2">
              <a:lumMod val="60000"/>
              <a:lumOff val="40000"/>
            </a:schemeClr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endParaRPr lang="en-US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A7C5186-5BEC-45CA-8AC5-1F614ABF2C52}" type="datetimeFigureOut">
              <a:rPr lang="en-US" smtClean="0"/>
              <a:t>1/23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EF9D78E-FA30-40D9-A15D-DF7ABAFF6F9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77456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E2EA6F-5EF9-4D5C-9924-1EDB343B9B17}" type="slidenum">
              <a:rPr lang="en-IN" smtClean="0"/>
              <a:pPr/>
              <a:t>1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9701568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C18B7A-9990-4E4A-9357-3B2676CCA582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65582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C18B7A-9990-4E4A-9357-3B2676CCA582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07213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C18B7A-9990-4E4A-9357-3B2676CCA582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22996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406400" y="696913"/>
            <a:ext cx="6197600" cy="348615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4035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67362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63A566-8F87-1E19-A877-B5F3E84B076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EFBB50A-D568-3143-0719-DE1978B2F8A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166BBE8-DD2B-C265-71E7-FE50EA2B92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EDDD37-7B8D-4AE2-93D5-A05CA599A656}" type="datetimeFigureOut">
              <a:rPr lang="en-US" smtClean="0"/>
              <a:t>1/2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8B562F1-F8EB-E8D5-6BCE-1B2FA313AA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4FB9C4-CE6C-A1BA-D93D-D8E728D253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12351C-2F36-4208-909F-0EF95314AA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290695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170EFA-1363-DE0A-74B7-9DECF90D66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DB4104B-61A5-8A69-B49B-35D2B7FECF8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A3A05E0-394C-4A9E-9586-79B1F4CA48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EDDD37-7B8D-4AE2-93D5-A05CA599A656}" type="datetimeFigureOut">
              <a:rPr lang="en-US" smtClean="0"/>
              <a:t>1/2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6DAF264-8989-CA9A-AFD4-495E532C40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4AADE6C-AC6C-99DE-910C-BB8B8A4A2E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12351C-2F36-4208-909F-0EF95314AA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726269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31B5E84-3125-9920-0064-31A6CE50DC7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7855415-C82A-3828-2DEF-B501B362997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A60EDE0-C6AD-6B68-E126-F362930D51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EDDD37-7B8D-4AE2-93D5-A05CA599A656}" type="datetimeFigureOut">
              <a:rPr lang="en-US" smtClean="0"/>
              <a:t>1/2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7485F-519A-9E85-F407-33D3B8E81C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666D592-FB90-67D1-5610-ED7A09FBBB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12351C-2F36-4208-909F-0EF95314AA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979021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Link-01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72008" y="-1"/>
            <a:ext cx="12288688" cy="6912387"/>
          </a:xfrm>
          <a:prstGeom prst="rect">
            <a:avLst/>
          </a:prstGeom>
        </p:spPr>
      </p:pic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BBC59E8-4873-4B9E-902A-20AEE235C0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2" progId="TCLayout.ActiveDocument.1">
                  <p:embed/>
                </p:oleObj>
              </mc:Choice>
              <mc:Fallback>
                <p:oleObj name="think-cell Slide" r:id="rId4" imgW="351" imgH="362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BBC59E8-4873-4B9E-902A-20AEE235C0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747628" y="3717032"/>
            <a:ext cx="6696744" cy="576362"/>
          </a:xfrm>
        </p:spPr>
        <p:txBody>
          <a:bodyPr anchor="ctr" anchorCtr="0">
            <a:normAutofit/>
          </a:bodyPr>
          <a:lstStyle>
            <a:lvl1pPr marL="10800" indent="0" algn="ctr">
              <a:buNone/>
              <a:defRPr sz="2800" b="0" i="0">
                <a:solidFill>
                  <a:srgbClr val="EA554D"/>
                </a:solidFill>
                <a:latin typeface="+mj-lt"/>
                <a:sym typeface="Avenir" panose="020B0503020203020204" pitchFamily="34" charset="0"/>
              </a:defRPr>
            </a:lvl1pPr>
          </a:lstStyle>
          <a:p>
            <a:pPr lvl="0"/>
            <a:r>
              <a:rPr lang="en-US"/>
              <a:t>Place subtext her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747628" y="2420888"/>
            <a:ext cx="6696744" cy="1577975"/>
          </a:xfrm>
        </p:spPr>
        <p:txBody>
          <a:bodyPr anchor="ctr" anchorCtr="0">
            <a:noAutofit/>
          </a:bodyPr>
          <a:lstStyle>
            <a:lvl1pPr marL="10800" indent="0" algn="ctr">
              <a:buNone/>
              <a:defRPr sz="4800" b="0">
                <a:solidFill>
                  <a:schemeClr val="bg1"/>
                </a:solidFill>
                <a:latin typeface="Gill Sans Nova" panose="020B0602020104020203" pitchFamily="34" charset="0"/>
                <a:sym typeface="Avenir" panose="020B0503020203020204" pitchFamily="34" charset="0"/>
              </a:defRPr>
            </a:lvl1pPr>
          </a:lstStyle>
          <a:p>
            <a:pPr lvl="0"/>
            <a:r>
              <a:rPr lang="en-US"/>
              <a:t>Edit Presentation Tit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3631965-320D-4B5A-91B3-9A0C271DC31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duotone>
              <a:schemeClr val="bg2">
                <a:shade val="45000"/>
                <a:satMod val="135000"/>
              </a:schemeClr>
              <a:prstClr val="white"/>
            </a:duotone>
            <a:lum bright="100000"/>
          </a:blip>
          <a:stretch>
            <a:fillRect/>
          </a:stretch>
        </p:blipFill>
        <p:spPr>
          <a:xfrm>
            <a:off x="4961716" y="764704"/>
            <a:ext cx="2214802" cy="138655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79137908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64CD482-4664-47DD-ACEC-6F73746741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09739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9" progId="TCLayout.ActiveDocument.1">
                  <p:embed/>
                </p:oleObj>
              </mc:Choice>
              <mc:Fallback>
                <p:oleObj name="think-cell Slide" r:id="rId3" imgW="353" imgH="35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64CD482-4664-47DD-ACEC-6F73746741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B8662C6-36B3-4B65-9AD8-F826D251E4B8}"/>
              </a:ext>
            </a:extLst>
          </p:cNvPr>
          <p:cNvCxnSpPr>
            <a:cxnSpLocks/>
          </p:cNvCxnSpPr>
          <p:nvPr userDrawn="1"/>
        </p:nvCxnSpPr>
        <p:spPr>
          <a:xfrm>
            <a:off x="202017" y="770965"/>
            <a:ext cx="730250" cy="0"/>
          </a:xfrm>
          <a:prstGeom prst="line">
            <a:avLst/>
          </a:prstGeom>
          <a:ln w="38100" cmpd="sng">
            <a:solidFill>
              <a:srgbClr val="E5555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02017" y="165928"/>
            <a:ext cx="9790122" cy="596072"/>
          </a:xfrm>
        </p:spPr>
        <p:txBody>
          <a:bodyPr lIns="0" anchor="ctr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buNone/>
              <a:defRPr sz="2400" b="1" cap="all" baseline="0">
                <a:solidFill>
                  <a:schemeClr val="accent5">
                    <a:lumMod val="75000"/>
                  </a:schemeClr>
                </a:solidFill>
                <a:latin typeface="Gill Sans MT" panose="020B0502020104020203" pitchFamily="34" charset="0"/>
                <a:sym typeface="Gill Sans MT" panose="020B0502020104020203" pitchFamily="34" charset="0"/>
              </a:defRPr>
            </a:lvl1pPr>
          </a:lstStyle>
          <a:p>
            <a:pPr lvl="0"/>
            <a:endParaRPr lang="en-IN"/>
          </a:p>
        </p:txBody>
      </p:sp>
      <p:sp>
        <p:nvSpPr>
          <p:cNvPr id="9" name="TextBox 8"/>
          <p:cNvSpPr txBox="1"/>
          <p:nvPr userDrawn="1"/>
        </p:nvSpPr>
        <p:spPr>
          <a:xfrm>
            <a:off x="11754674" y="6520069"/>
            <a:ext cx="418704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B89B87-9FEA-4AFC-AD60-09FC0207E223}" type="slidenum">
              <a:rPr kumimoji="0" lang="en-IN" sz="1500" b="1" i="0" u="none" strike="noStrike" kern="1200" cap="none" spc="0" normalizeH="0" baseline="0" noProof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  <a:sym typeface="Gill Sans MT" panose="020B0502020104020203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1500" b="1" i="0" u="none" strike="noStrike" kern="1200" cap="none" spc="0" normalizeH="0" baseline="0" noProof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Gill Sans MT" panose="020B0502020104020203" pitchFamily="34" charset="0"/>
              <a:ea typeface="+mn-ea"/>
              <a:cs typeface="+mn-cs"/>
              <a:sym typeface="Gill Sans MT" panose="020B0502020104020203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8175" y="115440"/>
            <a:ext cx="1387590" cy="900000"/>
          </a:xfrm>
          <a:prstGeom prst="rect">
            <a:avLst/>
          </a:prstGeom>
        </p:spPr>
      </p:pic>
      <p:pic>
        <p:nvPicPr>
          <p:cNvPr id="7" name="Picture 2" descr="All information contained herein is Proprietary &amp; Confidential material of ValueMomentum Inc. All rights are reserved.">
            <a:extLst>
              <a:ext uri="{FF2B5EF4-FFF2-40B4-BE49-F238E27FC236}">
                <a16:creationId xmlns:a16="http://schemas.microsoft.com/office/drawing/2014/main" id="{E7FC0A4A-056F-4154-8026-DE12B6BBCDF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0" y="6629400"/>
            <a:ext cx="9144001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2565215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Thanks You">
            <a:extLst>
              <a:ext uri="{FF2B5EF4-FFF2-40B4-BE49-F238E27FC236}">
                <a16:creationId xmlns:a16="http://schemas.microsoft.com/office/drawing/2014/main" id="{9439E712-94D3-41D4-80BC-A7B98D5F59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0FAAD46-3759-4A8D-8A3B-78BEA58BC4B3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29334E">
              <a:alpha val="92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53921A31-EE44-48B8-A781-F54B8050C2EB}"/>
              </a:ext>
            </a:extLst>
          </p:cNvPr>
          <p:cNvSpPr txBox="1">
            <a:spLocks/>
          </p:cNvSpPr>
          <p:nvPr userDrawn="1"/>
        </p:nvSpPr>
        <p:spPr>
          <a:xfrm>
            <a:off x="3205015" y="2655069"/>
            <a:ext cx="5781971" cy="15478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23618368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M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 userDrawn="1"/>
        </p:nvSpPr>
        <p:spPr>
          <a:xfrm>
            <a:off x="11740444" y="6535573"/>
            <a:ext cx="4110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65B66DB6-D71E-4B3E-9AE0-4919FDE04E8D}" type="slidenum">
              <a:rPr lang="en-US" sz="1200" smtClean="0">
                <a:solidFill>
                  <a:prstClr val="black"/>
                </a:solidFill>
                <a:latin typeface="Gill Sans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200">
              <a:solidFill>
                <a:prstClr val="black"/>
              </a:solidFill>
              <a:latin typeface="Gill Sans"/>
              <a:cs typeface="Arial" charset="0"/>
            </a:endParaRP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85925C2F-7695-4FBB-800B-164C2DDC316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66312" y="140567"/>
            <a:ext cx="9885904" cy="596072"/>
          </a:xfrm>
        </p:spPr>
        <p:txBody>
          <a:bodyPr anchor="ctr">
            <a:normAutofit/>
          </a:bodyPr>
          <a:lstStyle>
            <a:lvl1pPr marL="0" indent="0" algn="l">
              <a:buNone/>
              <a:defRPr sz="2400" b="1" cap="all" baseline="0">
                <a:solidFill>
                  <a:schemeClr val="accent5">
                    <a:lumMod val="50000"/>
                  </a:schemeClr>
                </a:solidFill>
                <a:latin typeface="Gill Sans MT" panose="020B0502020104020203" pitchFamily="34" charset="0"/>
              </a:defRPr>
            </a:lvl1pPr>
          </a:lstStyle>
          <a:p>
            <a:pPr lvl="0"/>
            <a:endParaRPr lang="en-IN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288232" y="729770"/>
            <a:ext cx="730250" cy="0"/>
          </a:xfrm>
          <a:prstGeom prst="line">
            <a:avLst/>
          </a:prstGeom>
          <a:ln w="38100" cmpd="sng">
            <a:solidFill>
              <a:srgbClr val="E5555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46269" y="102315"/>
            <a:ext cx="1033972" cy="6725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24824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71760"/>
            <a:ext cx="9813154" cy="26465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989" y="45427"/>
            <a:ext cx="10972800" cy="676714"/>
          </a:xfrm>
        </p:spPr>
        <p:txBody>
          <a:bodyPr/>
          <a:lstStyle>
            <a:lvl1pPr algn="l">
              <a:defRPr sz="2763" b="1">
                <a:solidFill>
                  <a:schemeClr val="accent1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11658986" y="6511811"/>
            <a:ext cx="533014" cy="273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65B66DB6-D71E-4B3E-9AE0-4919FDE04E8D}" type="slidenum">
              <a:rPr lang="en-US" sz="1184" b="0" smtClean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/>
              <a:t>‹#›</a:t>
            </a:fld>
            <a:endParaRPr lang="en-US" sz="1776" b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7" name="Picture 13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0762075" y="87157"/>
            <a:ext cx="1331165" cy="8605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3081571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612741-FDC4-226B-2695-9FF9BD90EF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91A39DA-75AF-775F-3919-38CC0B94000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9A7813B-9265-57F1-95AB-A9C87133FE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EDDD37-7B8D-4AE2-93D5-A05CA599A656}" type="datetimeFigureOut">
              <a:rPr lang="en-US" smtClean="0"/>
              <a:t>1/2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B738924-2E17-263D-720D-5E2AB2EADE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4CDEAA4-A45E-D505-2C9D-8AC7DA02CE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12351C-2F36-4208-909F-0EF95314AA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59351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C5A9F4-AD73-C3DA-EE3E-C66A2DA9A9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7F82CF3-7126-C436-5A1E-29356D5888E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8755104-0261-EF44-3F64-B3E84CAB43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EDDD37-7B8D-4AE2-93D5-A05CA599A656}" type="datetimeFigureOut">
              <a:rPr lang="en-US" smtClean="0"/>
              <a:t>1/2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3AC631A-398E-B3E4-4B78-AAB948EAE5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B63D4E5-1143-5D69-8B9C-B8F1C4601F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12351C-2F36-4208-909F-0EF95314AA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97708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1A8269-222B-A80C-B17A-E1538E16BE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A84B8ED-899C-1D96-2948-F6B91DDE63C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9DE9577-A256-3F76-6BE0-FEE9537C09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8C7828-DB62-0146-5E57-CF9667205F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EDDD37-7B8D-4AE2-93D5-A05CA599A656}" type="datetimeFigureOut">
              <a:rPr lang="en-US" smtClean="0"/>
              <a:t>1/23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11CE99B-C056-AF08-148C-0F2FB97978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B1CFEE5-BA61-94BF-560C-49898926E2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12351C-2F36-4208-909F-0EF95314AA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01509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1C70D8-7F3B-37EA-B222-098379A264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7A3239D-9C6E-7B92-E6FD-A5DB6D54534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54E5C36-CDDA-D02D-6F63-2B5960AA8FF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6C90EF7-9901-4F6B-140E-542E6041E9A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6298914-CB79-8050-CC9D-2D729FA8417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E5AE529-DC77-6956-0E9B-2707DC543C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EDDD37-7B8D-4AE2-93D5-A05CA599A656}" type="datetimeFigureOut">
              <a:rPr lang="en-US" smtClean="0"/>
              <a:t>1/23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77B9746-C9E1-109F-5B89-5B593F2981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5A5EB47-0A30-6881-6E6D-A5A48BD64C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12351C-2F36-4208-909F-0EF95314AA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83939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B69265-A04D-FFC5-06A8-91DC18814A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F6E74C0-523E-CB35-37E9-CFA1B4F0A1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EDDD37-7B8D-4AE2-93D5-A05CA599A656}" type="datetimeFigureOut">
              <a:rPr lang="en-US" smtClean="0"/>
              <a:t>1/23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54C1E7D-B188-2873-2B47-A8381C3D19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9660BF-7F14-A5BD-BB75-DC76B867DE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12351C-2F36-4208-909F-0EF95314AA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4273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54D65AA-C01F-BC2F-331E-E3F3418E68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EDDD37-7B8D-4AE2-93D5-A05CA599A656}" type="datetimeFigureOut">
              <a:rPr lang="en-US" smtClean="0"/>
              <a:t>1/23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EA89F84-4D58-D374-D67D-DF39291811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8DD7D2-531D-3FDC-5A1A-280328D3EC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12351C-2F36-4208-909F-0EF95314AA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26836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D1CA04-6BF7-BC20-82AE-0D874BFBAA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19485AC-A7DA-6D42-2A07-3F1E8D5DC4A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F2FC71C-1353-F996-9B03-C2609E3C32A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42796D6-2150-1842-4248-B9478AB6EC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EDDD37-7B8D-4AE2-93D5-A05CA599A656}" type="datetimeFigureOut">
              <a:rPr lang="en-US" smtClean="0"/>
              <a:t>1/23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E56AB72-3C00-E24B-60C0-551B432D31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75BE76A-37E3-F0DA-F618-67D9184562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12351C-2F36-4208-909F-0EF95314AA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071691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32279D-CCE7-7321-4E2A-36A12D459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941D8B6-1BB2-56EE-2CD1-A72AA94884C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AA9BF01-2D5E-DC14-8941-43A01A7BE71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056CA9A-8758-FBAE-370C-7318B30AAE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EDDD37-7B8D-4AE2-93D5-A05CA599A656}" type="datetimeFigureOut">
              <a:rPr lang="en-US" smtClean="0"/>
              <a:t>1/23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18D90AD-13B2-C4FD-0BB1-22B8F22A86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23DDD88-BAAA-2D7E-958D-1DF812760A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12351C-2F36-4208-909F-0EF95314AA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78212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B9B3774-191C-DF22-AF83-22FD95FFD9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E7A7070-0AB7-AB56-AB30-F987E14C6C8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722F2BE-EC06-D28E-84CA-418256F7FFD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FEDDD37-7B8D-4AE2-93D5-A05CA599A656}" type="datetimeFigureOut">
              <a:rPr lang="en-US" smtClean="0"/>
              <a:t>1/2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4BD641-8C20-0FA4-E32D-A39E2924BB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77D21F-5C4F-E6CB-4644-4C5E57C947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012351C-2F36-4208-909F-0EF95314AA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70335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76" r:id="rId12"/>
    <p:sldLayoutId id="2147483677" r:id="rId13"/>
    <p:sldLayoutId id="2147483678" r:id="rId14"/>
    <p:sldLayoutId id="2147483680" r:id="rId15"/>
    <p:sldLayoutId id="2147483681" r:id="rId1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Relationship Id="rId9" Type="http://schemas.openxmlformats.org/officeDocument/2006/relationships/image" Target="../media/image18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fif"/><Relationship Id="rId3" Type="http://schemas.openxmlformats.org/officeDocument/2006/relationships/image" Target="../media/image12.png"/><Relationship Id="rId7" Type="http://schemas.openxmlformats.org/officeDocument/2006/relationships/image" Target="../media/image20.jfi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9.jpeg"/><Relationship Id="rId5" Type="http://schemas.openxmlformats.org/officeDocument/2006/relationships/image" Target="../media/image17.png"/><Relationship Id="rId4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5594760-9C12-4717-AF38-1E395C3A85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2" progId="TCLayout.ActiveDocument.1">
                  <p:embed/>
                </p:oleObj>
              </mc:Choice>
              <mc:Fallback>
                <p:oleObj name="think-cell Slide" r:id="rId4" imgW="351" imgH="36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5594760-9C12-4717-AF38-1E395C3A85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914399" y="2335212"/>
            <a:ext cx="10086535" cy="1970088"/>
          </a:xfrm>
        </p:spPr>
        <p:txBody>
          <a:bodyPr/>
          <a:lstStyle/>
          <a:p>
            <a:pPr marL="0"/>
            <a:r>
              <a:rPr lang="en-IN" sz="4400" b="1" dirty="0">
                <a:latin typeface="arial" panose="020B0604020202020204" pitchFamily="34" charset="0"/>
              </a:rPr>
              <a:t>GEICO </a:t>
            </a:r>
          </a:p>
          <a:p>
            <a:pPr marL="0"/>
            <a:r>
              <a:rPr lang="en-IN" sz="4400" b="1" dirty="0">
                <a:latin typeface="arial" panose="020B0604020202020204" pitchFamily="34" charset="0"/>
              </a:rPr>
              <a:t>IP Management</a:t>
            </a:r>
          </a:p>
          <a:p>
            <a:pPr marL="0"/>
            <a:r>
              <a:rPr lang="en-IN" sz="1800" b="1" dirty="0">
                <a:latin typeface="arial" panose="020B0604020202020204" pitchFamily="34" charset="0"/>
              </a:rPr>
              <a:t>Sept 2022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1362B8D6-D7B3-48E6-8E52-F1C74E4C14AA}"/>
              </a:ext>
            </a:extLst>
          </p:cNvPr>
          <p:cNvSpPr txBox="1">
            <a:spLocks/>
          </p:cNvSpPr>
          <p:nvPr/>
        </p:nvSpPr>
        <p:spPr>
          <a:xfrm>
            <a:off x="1295400" y="3733800"/>
            <a:ext cx="9532882" cy="1577975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>
            <a:lvl1pPr marL="1080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4800" b="0" kern="1200">
                <a:solidFill>
                  <a:schemeClr val="bg1"/>
                </a:solidFill>
                <a:latin typeface="Gill Sans Nova" panose="020B0602020104020203" pitchFamily="34" charset="0"/>
                <a:ea typeface="+mn-ea"/>
                <a:cs typeface="+mn-cs"/>
                <a:sym typeface="Avenir" panose="020B0503020203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</a:pPr>
            <a:endParaRPr lang="en-US" sz="3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 Semibold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856837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kern="0">
                <a:solidFill>
                  <a:srgbClr val="4171C3"/>
                </a:solidFill>
                <a:latin typeface="Gill Sans MT" panose="020B0502020104020203" pitchFamily="34" charset="0"/>
                <a:cs typeface="+mj-cs"/>
              </a:rPr>
              <a:t>Problem Statement &amp; Action Items 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117525B-1FA1-79BC-DCAC-62D6455C96D2}"/>
              </a:ext>
            </a:extLst>
          </p:cNvPr>
          <p:cNvSpPr/>
          <p:nvPr/>
        </p:nvSpPr>
        <p:spPr>
          <a:xfrm>
            <a:off x="175851" y="1054303"/>
            <a:ext cx="5229225" cy="385559"/>
          </a:xfrm>
          <a:prstGeom prst="rect">
            <a:avLst/>
          </a:prstGeom>
          <a:solidFill>
            <a:srgbClr val="0E3570"/>
          </a:solidFill>
          <a:ln w="25400" cap="flat" cmpd="sng" algn="ctr">
            <a:noFill/>
            <a:prstDash val="solid"/>
          </a:ln>
          <a:effectLst/>
        </p:spPr>
        <p:txBody>
          <a:bodyPr lIns="182880" tIns="182880" rIns="182880" bIns="182880" rtlCol="0" anchor="ctr"/>
          <a:lstStyle/>
          <a:p>
            <a:pPr>
              <a:defRPr/>
            </a:pPr>
            <a:r>
              <a:rPr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Gill Sans MT" panose="020B0502020104020203" pitchFamily="34" charset="0"/>
                <a:ea typeface=""/>
                <a:cs typeface="Segoe UI"/>
              </a:rPr>
              <a:t>Problem Statement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A425DF0-4F24-5D1C-9F48-D013C0B85254}"/>
              </a:ext>
            </a:extLst>
          </p:cNvPr>
          <p:cNvSpPr/>
          <p:nvPr/>
        </p:nvSpPr>
        <p:spPr>
          <a:xfrm>
            <a:off x="175852" y="1439862"/>
            <a:ext cx="5229225" cy="362295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lIns="182880" tIns="182880" rIns="182880" bIns="182880" rtlCol="0" anchor="t" anchorCtr="0"/>
          <a:lstStyle/>
          <a:p>
            <a:pPr marL="800100" lvl="1" indent="-342900">
              <a:buFont typeface="+mj-lt"/>
              <a:buAutoNum type="arabicPeriod"/>
            </a:pPr>
            <a:r>
              <a:rPr lang="en-US" sz="1400" dirty="0">
                <a:latin typeface="Gill Sans MT" panose="020B0502020104020203" pitchFamily="34" charset="0"/>
              </a:rPr>
              <a:t>IP Conflicts while allotting the IPs to the given subscription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 sz="1400" dirty="0">
                <a:latin typeface="Gill Sans MT" panose="020B0502020104020203" pitchFamily="34" charset="0"/>
              </a:rPr>
              <a:t>Manual Process to maintain the IP Tracker and robust calculations involved in the tracker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 sz="1400" dirty="0">
                <a:latin typeface="Gill Sans MT" panose="020B0502020104020203" pitchFamily="34" charset="0"/>
              </a:rPr>
              <a:t>IP Tracker is not integrated with IP Calculator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 sz="1400" dirty="0"/>
              <a:t>Maintaining the  logs on a particular IP very complex process 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 sz="1400" dirty="0">
                <a:latin typeface="Gill Sans MT" panose="020B0502020104020203" pitchFamily="34" charset="0"/>
              </a:rPr>
              <a:t>While working on the IP Management tracker Excel Sheet, it is getting blocked for other users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 sz="1400" dirty="0"/>
              <a:t>Change log is not currently available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 sz="1400" dirty="0"/>
              <a:t>No alerts/Emails to stakeholder about the IP assignment.</a:t>
            </a:r>
            <a:endParaRPr lang="en-US" sz="1400" dirty="0">
              <a:latin typeface="Gill Sans MT" panose="020B0502020104020203" pitchFamily="34" charset="0"/>
              <a:cs typeface="Sanskrit Text" panose="020B0502040204020203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endParaRPr lang="en-US" sz="1400" dirty="0">
              <a:latin typeface="Gill Sans MT" panose="020B0502020104020203" pitchFamily="34" charset="0"/>
              <a:cs typeface="Sanskrit Text" panose="020B0502040204020203" pitchFamily="18" charset="0"/>
            </a:endParaRPr>
          </a:p>
          <a:p>
            <a:pPr marR="0" lvl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Gill Sans MT" panose="020B0502020104020203" pitchFamily="34" charset="0"/>
              <a:ea typeface=""/>
              <a:cs typeface="Segoe UI" panose="020B0502040204020203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E83A037-A79C-A7AC-15BC-E9F5706F86EC}"/>
              </a:ext>
            </a:extLst>
          </p:cNvPr>
          <p:cNvSpPr/>
          <p:nvPr/>
        </p:nvSpPr>
        <p:spPr>
          <a:xfrm>
            <a:off x="5934566" y="1054304"/>
            <a:ext cx="5229225" cy="385559"/>
          </a:xfrm>
          <a:prstGeom prst="rect">
            <a:avLst/>
          </a:prstGeom>
          <a:solidFill>
            <a:srgbClr val="0E3570"/>
          </a:solidFill>
          <a:ln w="25400" cap="flat" cmpd="sng" algn="ctr">
            <a:noFill/>
            <a:prstDash val="solid"/>
          </a:ln>
          <a:effectLst/>
        </p:spPr>
        <p:txBody>
          <a:bodyPr lIns="182880" tIns="182880" rIns="182880" bIns="182880" rtlCol="0" anchor="ctr"/>
          <a:lstStyle/>
          <a:p>
            <a:pPr>
              <a:defRPr/>
            </a:pPr>
            <a:r>
              <a:rPr lang="en-US" sz="1400" b="1" kern="0" dirty="0">
                <a:solidFill>
                  <a:schemeClr val="bg1"/>
                </a:solidFill>
                <a:latin typeface="Gill Sans MT" panose="020B0502020104020203" pitchFamily="34" charset="0"/>
                <a:ea typeface=""/>
                <a:cs typeface="Segoe UI"/>
              </a:rPr>
              <a:t>Our Approach</a:t>
            </a:r>
            <a:endParaRPr lang="en-US" sz="14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Gill Sans MT" panose="020B0502020104020203" pitchFamily="34" charset="0"/>
              <a:ea typeface=""/>
              <a:cs typeface="Segoe UI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20F028C-B334-1E4D-4623-74DC60C35196}"/>
              </a:ext>
            </a:extLst>
          </p:cNvPr>
          <p:cNvSpPr/>
          <p:nvPr/>
        </p:nvSpPr>
        <p:spPr>
          <a:xfrm>
            <a:off x="5934565" y="1439863"/>
            <a:ext cx="5229225" cy="362295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lIns="182880" tIns="182880" rIns="182880" bIns="182880" rtlCol="0" anchor="t" anchorCtr="0"/>
          <a:lstStyle/>
          <a:p>
            <a:r>
              <a:rPr lang="en-US" sz="1400" dirty="0">
                <a:latin typeface="Gill Sans MT" panose="020B0502020104020203" pitchFamily="34" charset="0"/>
                <a:cs typeface="Segoe UI"/>
              </a:rPr>
              <a:t>We propose to follow a phased solution approach to meet business objectives 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Gill Sans MT" panose="020B0502020104020203" pitchFamily="34" charset="0"/>
                <a:cs typeface="Segoe UI"/>
              </a:rPr>
              <a:t>Phase –1 is focused on providing Web UI for CNSS team </a:t>
            </a:r>
            <a:r>
              <a:rPr lang="en-US" sz="1400" dirty="0" err="1">
                <a:latin typeface="Gill Sans MT" panose="020B0502020104020203" pitchFamily="34" charset="0"/>
                <a:cs typeface="Segoe UI"/>
              </a:rPr>
              <a:t>team</a:t>
            </a:r>
            <a:r>
              <a:rPr lang="en-US" sz="1400" dirty="0">
                <a:latin typeface="Gill Sans MT" panose="020B0502020104020203" pitchFamily="34" charset="0"/>
                <a:cs typeface="Segoe UI"/>
              </a:rPr>
              <a:t> for IP Assignment (Manual) based on available IPs. 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Gill Sans MT" panose="020B0502020104020203" pitchFamily="34" charset="0"/>
                <a:cs typeface="Segoe UI"/>
              </a:rPr>
              <a:t>Phase –2 is focused on Automated IP splitting based on Block size and IP assignment to the given subscription</a:t>
            </a:r>
          </a:p>
          <a:p>
            <a:pPr lvl="0"/>
            <a:endParaRPr lang="en-US" sz="1400" dirty="0">
              <a:latin typeface="Gill Sans MT" panose="020B0502020104020203" pitchFamily="34" charset="0"/>
              <a:cs typeface="Sanskrit Text" panose="020B0502040204020203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endParaRPr lang="en-US" sz="1400" dirty="0">
              <a:latin typeface="Gill Sans MT" panose="020B0502020104020203" pitchFamily="34" charset="0"/>
              <a:cs typeface="Sanskrit Text" panose="020B0502040204020203" pitchFamily="18" charset="0"/>
            </a:endParaRPr>
          </a:p>
          <a:p>
            <a:pPr marR="0" lvl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Gill Sans MT" panose="020B0502020104020203" pitchFamily="34" charset="0"/>
              <a:ea typeface="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270754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5BD2F210-626B-53E3-FC0B-06C352F7F513}"/>
              </a:ext>
            </a:extLst>
          </p:cNvPr>
          <p:cNvSpPr txBox="1">
            <a:spLocks/>
          </p:cNvSpPr>
          <p:nvPr/>
        </p:nvSpPr>
        <p:spPr>
          <a:xfrm>
            <a:off x="183389" y="140677"/>
            <a:ext cx="8903461" cy="50702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b="1">
                <a:solidFill>
                  <a:schemeClr val="accent5">
                    <a:lumMod val="50000"/>
                  </a:schemeClr>
                </a:solidFill>
                <a:latin typeface="Gill Sans MT" panose="020B0502020104020203" pitchFamily="34" charset="0"/>
                <a:ea typeface="+mn-ea"/>
                <a:cs typeface="+mn-cs"/>
              </a:rPr>
              <a:t>Executive Summary</a:t>
            </a:r>
          </a:p>
        </p:txBody>
      </p:sp>
      <p:pic>
        <p:nvPicPr>
          <p:cNvPr id="6146" name="Picture 2" descr="Business Handshake Icon - Free PNG &amp; SVG 1007187 - Noun Project">
            <a:extLst>
              <a:ext uri="{FF2B5EF4-FFF2-40B4-BE49-F238E27FC236}">
                <a16:creationId xmlns:a16="http://schemas.microsoft.com/office/drawing/2014/main" id="{51A0B678-7EC3-5A5A-4E2C-5E07C00A0E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0220" y="749300"/>
            <a:ext cx="1379220" cy="1379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DD919C14-7588-FF5A-745B-782920145F0D}"/>
              </a:ext>
            </a:extLst>
          </p:cNvPr>
          <p:cNvSpPr txBox="1"/>
          <p:nvPr/>
        </p:nvSpPr>
        <p:spPr>
          <a:xfrm>
            <a:off x="2076451" y="1009650"/>
            <a:ext cx="9839324" cy="738664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>
              <a:spcAft>
                <a:spcPts val="300"/>
              </a:spcAft>
              <a:buClr>
                <a:schemeClr val="bg1"/>
              </a:buClr>
            </a:pPr>
            <a:r>
              <a:rPr lang="en-US" sz="1400" dirty="0" err="1">
                <a:latin typeface="Gill Sans MT" panose="020B0502020104020203" pitchFamily="34" charset="0"/>
              </a:rPr>
              <a:t>ValueMomentum</a:t>
            </a:r>
            <a:r>
              <a:rPr lang="en-US" sz="1400" dirty="0">
                <a:latin typeface="Gill Sans MT" panose="020B0502020104020203" pitchFamily="34" charset="0"/>
              </a:rPr>
              <a:t> (“VM”) is excited to submit the proposal to serve as Geico’s strategic partner in building a proactive solution to create visibility on CNSS IP Management. The following summarizes the key aspects of </a:t>
            </a:r>
            <a:r>
              <a:rPr lang="en-US" sz="1400" dirty="0" err="1">
                <a:latin typeface="Gill Sans MT" panose="020B0502020104020203" pitchFamily="34" charset="0"/>
              </a:rPr>
              <a:t>ValueMomentum’s</a:t>
            </a:r>
            <a:r>
              <a:rPr lang="en-US" sz="1400" dirty="0">
                <a:latin typeface="Gill Sans MT" panose="020B0502020104020203" pitchFamily="34" charset="0"/>
              </a:rPr>
              <a:t> strength in supporting the engagement.</a:t>
            </a:r>
          </a:p>
        </p:txBody>
      </p:sp>
      <p:cxnSp>
        <p:nvCxnSpPr>
          <p:cNvPr id="107" name="Elbow Connector 2">
            <a:extLst>
              <a:ext uri="{FF2B5EF4-FFF2-40B4-BE49-F238E27FC236}">
                <a16:creationId xmlns:a16="http://schemas.microsoft.com/office/drawing/2014/main" id="{47658807-68F5-AEFF-412B-4F6F509D4C97}"/>
              </a:ext>
            </a:extLst>
          </p:cNvPr>
          <p:cNvCxnSpPr/>
          <p:nvPr/>
        </p:nvCxnSpPr>
        <p:spPr>
          <a:xfrm flipH="1">
            <a:off x="7347854" y="2803360"/>
            <a:ext cx="1011478" cy="743734"/>
          </a:xfrm>
          <a:prstGeom prst="bentConnector3">
            <a:avLst/>
          </a:prstGeom>
          <a:ln w="317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Elbow Connector 3">
            <a:extLst>
              <a:ext uri="{FF2B5EF4-FFF2-40B4-BE49-F238E27FC236}">
                <a16:creationId xmlns:a16="http://schemas.microsoft.com/office/drawing/2014/main" id="{8095AA5B-FDB9-4F24-9076-2F85EE70C059}"/>
              </a:ext>
            </a:extLst>
          </p:cNvPr>
          <p:cNvCxnSpPr/>
          <p:nvPr/>
        </p:nvCxnSpPr>
        <p:spPr>
          <a:xfrm>
            <a:off x="7347854" y="4533426"/>
            <a:ext cx="1011478" cy="743734"/>
          </a:xfrm>
          <a:prstGeom prst="bentConnector3">
            <a:avLst/>
          </a:prstGeom>
          <a:ln w="317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C24C6E4E-D576-DEA8-4F9D-1B2056DA5350}"/>
              </a:ext>
            </a:extLst>
          </p:cNvPr>
          <p:cNvCxnSpPr/>
          <p:nvPr/>
        </p:nvCxnSpPr>
        <p:spPr>
          <a:xfrm>
            <a:off x="7472729" y="4121780"/>
            <a:ext cx="808007" cy="0"/>
          </a:xfrm>
          <a:prstGeom prst="line">
            <a:avLst/>
          </a:prstGeom>
          <a:ln w="2857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Oval 109">
            <a:extLst>
              <a:ext uri="{FF2B5EF4-FFF2-40B4-BE49-F238E27FC236}">
                <a16:creationId xmlns:a16="http://schemas.microsoft.com/office/drawing/2014/main" id="{22B351F6-1551-758E-BE34-6C5043B4788A}"/>
              </a:ext>
            </a:extLst>
          </p:cNvPr>
          <p:cNvSpPr/>
          <p:nvPr/>
        </p:nvSpPr>
        <p:spPr>
          <a:xfrm>
            <a:off x="8217766" y="2571234"/>
            <a:ext cx="629694" cy="629694"/>
          </a:xfrm>
          <a:prstGeom prst="ellipse">
            <a:avLst/>
          </a:prstGeom>
          <a:solidFill>
            <a:srgbClr val="EF33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latin typeface="Gill Sans MT" panose="020B0502020104020203" pitchFamily="34" charset="0"/>
            </a:endParaRPr>
          </a:p>
        </p:txBody>
      </p:sp>
      <p:sp>
        <p:nvSpPr>
          <p:cNvPr id="111" name="Oval 110">
            <a:extLst>
              <a:ext uri="{FF2B5EF4-FFF2-40B4-BE49-F238E27FC236}">
                <a16:creationId xmlns:a16="http://schemas.microsoft.com/office/drawing/2014/main" id="{1F080AE4-4630-8D33-5923-ABADE8ECF782}"/>
              </a:ext>
            </a:extLst>
          </p:cNvPr>
          <p:cNvSpPr/>
          <p:nvPr/>
        </p:nvSpPr>
        <p:spPr>
          <a:xfrm>
            <a:off x="8233393" y="3806933"/>
            <a:ext cx="629694" cy="629694"/>
          </a:xfrm>
          <a:prstGeom prst="ellipse">
            <a:avLst/>
          </a:prstGeom>
          <a:solidFill>
            <a:srgbClr val="0E357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latin typeface="Gill Sans MT" panose="020B0502020104020203" pitchFamily="34" charset="0"/>
            </a:endParaRPr>
          </a:p>
        </p:txBody>
      </p:sp>
      <p:sp>
        <p:nvSpPr>
          <p:cNvPr id="112" name="Oval 111">
            <a:extLst>
              <a:ext uri="{FF2B5EF4-FFF2-40B4-BE49-F238E27FC236}">
                <a16:creationId xmlns:a16="http://schemas.microsoft.com/office/drawing/2014/main" id="{48B4A5A5-9C0C-C26D-20D8-3B2B1F175237}"/>
              </a:ext>
            </a:extLst>
          </p:cNvPr>
          <p:cNvSpPr/>
          <p:nvPr/>
        </p:nvSpPr>
        <p:spPr>
          <a:xfrm>
            <a:off x="8233393" y="4962312"/>
            <a:ext cx="629694" cy="629694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latin typeface="Gill Sans MT" panose="020B0502020104020203" pitchFamily="34" charset="0"/>
            </a:endParaRPr>
          </a:p>
        </p:txBody>
      </p:sp>
      <p:sp>
        <p:nvSpPr>
          <p:cNvPr id="113" name="Oval 112">
            <a:extLst>
              <a:ext uri="{FF2B5EF4-FFF2-40B4-BE49-F238E27FC236}">
                <a16:creationId xmlns:a16="http://schemas.microsoft.com/office/drawing/2014/main" id="{A8197563-D572-0C1E-22B6-9DE588DAA310}"/>
              </a:ext>
            </a:extLst>
          </p:cNvPr>
          <p:cNvSpPr/>
          <p:nvPr/>
        </p:nvSpPr>
        <p:spPr>
          <a:xfrm flipH="1">
            <a:off x="3912984" y="2544246"/>
            <a:ext cx="629694" cy="629694"/>
          </a:xfrm>
          <a:prstGeom prst="ellipse">
            <a:avLst/>
          </a:prstGeom>
          <a:solidFill>
            <a:srgbClr val="6DC2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latin typeface="Gill Sans MT" panose="020B0502020104020203" pitchFamily="34" charset="0"/>
            </a:endParaRPr>
          </a:p>
        </p:txBody>
      </p:sp>
      <p:sp>
        <p:nvSpPr>
          <p:cNvPr id="114" name="Oval 113">
            <a:extLst>
              <a:ext uri="{FF2B5EF4-FFF2-40B4-BE49-F238E27FC236}">
                <a16:creationId xmlns:a16="http://schemas.microsoft.com/office/drawing/2014/main" id="{8B43A5AA-F1D2-FFD3-977E-510AD42EE318}"/>
              </a:ext>
            </a:extLst>
          </p:cNvPr>
          <p:cNvSpPr/>
          <p:nvPr/>
        </p:nvSpPr>
        <p:spPr>
          <a:xfrm flipH="1">
            <a:off x="3912984" y="3806933"/>
            <a:ext cx="629694" cy="629694"/>
          </a:xfrm>
          <a:prstGeom prst="ellipse">
            <a:avLst/>
          </a:prstGeom>
          <a:solidFill>
            <a:srgbClr val="00A2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latin typeface="Gill Sans MT" panose="020B0502020104020203" pitchFamily="34" charset="0"/>
            </a:endParaRPr>
          </a:p>
        </p:txBody>
      </p:sp>
      <p:sp>
        <p:nvSpPr>
          <p:cNvPr id="115" name="Oval 114">
            <a:extLst>
              <a:ext uri="{FF2B5EF4-FFF2-40B4-BE49-F238E27FC236}">
                <a16:creationId xmlns:a16="http://schemas.microsoft.com/office/drawing/2014/main" id="{D47E074E-B4A2-21A3-AAE8-513D25E7AF6B}"/>
              </a:ext>
            </a:extLst>
          </p:cNvPr>
          <p:cNvSpPr/>
          <p:nvPr/>
        </p:nvSpPr>
        <p:spPr>
          <a:xfrm flipH="1">
            <a:off x="3912984" y="4962312"/>
            <a:ext cx="629694" cy="629694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latin typeface="Gill Sans MT" panose="020B0502020104020203" pitchFamily="34" charset="0"/>
            </a:endParaRPr>
          </a:p>
        </p:txBody>
      </p:sp>
      <p:cxnSp>
        <p:nvCxnSpPr>
          <p:cNvPr id="116" name="Elbow Connector 11">
            <a:extLst>
              <a:ext uri="{FF2B5EF4-FFF2-40B4-BE49-F238E27FC236}">
                <a16:creationId xmlns:a16="http://schemas.microsoft.com/office/drawing/2014/main" id="{96E3E0E1-EC68-CDEC-8C38-060A66A331EA}"/>
              </a:ext>
            </a:extLst>
          </p:cNvPr>
          <p:cNvCxnSpPr/>
          <p:nvPr/>
        </p:nvCxnSpPr>
        <p:spPr>
          <a:xfrm>
            <a:off x="4431819" y="2792771"/>
            <a:ext cx="1011478" cy="743734"/>
          </a:xfrm>
          <a:prstGeom prst="bentConnector3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Elbow Connector 12">
            <a:extLst>
              <a:ext uri="{FF2B5EF4-FFF2-40B4-BE49-F238E27FC236}">
                <a16:creationId xmlns:a16="http://schemas.microsoft.com/office/drawing/2014/main" id="{965E782D-8796-1991-4C02-2C9B1E455927}"/>
              </a:ext>
            </a:extLst>
          </p:cNvPr>
          <p:cNvCxnSpPr/>
          <p:nvPr/>
        </p:nvCxnSpPr>
        <p:spPr>
          <a:xfrm flipH="1">
            <a:off x="4431819" y="4533426"/>
            <a:ext cx="1011478" cy="743734"/>
          </a:xfrm>
          <a:prstGeom prst="bentConnector3">
            <a:avLst/>
          </a:prstGeom>
          <a:ln w="317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Straight Connector 117">
            <a:extLst>
              <a:ext uri="{FF2B5EF4-FFF2-40B4-BE49-F238E27FC236}">
                <a16:creationId xmlns:a16="http://schemas.microsoft.com/office/drawing/2014/main" id="{95044840-E63B-EA1D-C9E3-F48CFEEA07EE}"/>
              </a:ext>
            </a:extLst>
          </p:cNvPr>
          <p:cNvCxnSpPr/>
          <p:nvPr/>
        </p:nvCxnSpPr>
        <p:spPr>
          <a:xfrm>
            <a:off x="4542679" y="4121780"/>
            <a:ext cx="766229" cy="0"/>
          </a:xfrm>
          <a:prstGeom prst="line">
            <a:avLst/>
          </a:prstGeom>
          <a:ln w="28575">
            <a:solidFill>
              <a:srgbClr val="00A2E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Donut 14">
            <a:extLst>
              <a:ext uri="{FF2B5EF4-FFF2-40B4-BE49-F238E27FC236}">
                <a16:creationId xmlns:a16="http://schemas.microsoft.com/office/drawing/2014/main" id="{E4EA7F6A-4C11-BC45-9ED9-FC7260CE79C5}"/>
              </a:ext>
            </a:extLst>
          </p:cNvPr>
          <p:cNvSpPr/>
          <p:nvPr/>
        </p:nvSpPr>
        <p:spPr>
          <a:xfrm>
            <a:off x="5298312" y="2925361"/>
            <a:ext cx="2203930" cy="2203931"/>
          </a:xfrm>
          <a:prstGeom prst="donut">
            <a:avLst>
              <a:gd name="adj" fmla="val 2694"/>
            </a:avLst>
          </a:prstGeom>
          <a:solidFill>
            <a:srgbClr val="0E357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tx1"/>
              </a:solidFill>
              <a:latin typeface="Gill Sans MT" panose="020B0502020104020203" pitchFamily="34" charset="0"/>
            </a:endParaRP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843D8129-0A53-9965-992E-3031218A215B}"/>
              </a:ext>
            </a:extLst>
          </p:cNvPr>
          <p:cNvSpPr/>
          <p:nvPr/>
        </p:nvSpPr>
        <p:spPr>
          <a:xfrm>
            <a:off x="5764236" y="4006475"/>
            <a:ext cx="134148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914126">
              <a:defRPr/>
            </a:pPr>
            <a:r>
              <a:rPr lang="en-US" sz="1200" kern="0">
                <a:solidFill>
                  <a:srgbClr val="646363"/>
                </a:solidFill>
                <a:latin typeface="Gill Sans MT" panose="020B0502020104020203" pitchFamily="34" charset="0"/>
                <a:cs typeface="Arial" pitchFamily="34" charset="0"/>
              </a:rPr>
              <a:t>What VM brings to the table</a:t>
            </a:r>
          </a:p>
        </p:txBody>
      </p:sp>
      <p:sp>
        <p:nvSpPr>
          <p:cNvPr id="121" name="Freeform 23">
            <a:extLst>
              <a:ext uri="{FF2B5EF4-FFF2-40B4-BE49-F238E27FC236}">
                <a16:creationId xmlns:a16="http://schemas.microsoft.com/office/drawing/2014/main" id="{EA3C528E-209E-B3F8-E904-07263F659E99}"/>
              </a:ext>
            </a:extLst>
          </p:cNvPr>
          <p:cNvSpPr>
            <a:spLocks noEditPoints="1"/>
          </p:cNvSpPr>
          <p:nvPr/>
        </p:nvSpPr>
        <p:spPr bwMode="auto">
          <a:xfrm>
            <a:off x="6007406" y="3198317"/>
            <a:ext cx="776580" cy="756575"/>
          </a:xfrm>
          <a:custGeom>
            <a:avLst/>
            <a:gdLst>
              <a:gd name="T0" fmla="*/ 180 w 180"/>
              <a:gd name="T1" fmla="*/ 95 h 176"/>
              <a:gd name="T2" fmla="*/ 179 w 180"/>
              <a:gd name="T3" fmla="*/ 93 h 176"/>
              <a:gd name="T4" fmla="*/ 178 w 180"/>
              <a:gd name="T5" fmla="*/ 92 h 176"/>
              <a:gd name="T6" fmla="*/ 135 w 180"/>
              <a:gd name="T7" fmla="*/ 74 h 176"/>
              <a:gd name="T8" fmla="*/ 135 w 180"/>
              <a:gd name="T9" fmla="*/ 21 h 176"/>
              <a:gd name="T10" fmla="*/ 135 w 180"/>
              <a:gd name="T11" fmla="*/ 21 h 176"/>
              <a:gd name="T12" fmla="*/ 134 w 180"/>
              <a:gd name="T13" fmla="*/ 19 h 176"/>
              <a:gd name="T14" fmla="*/ 133 w 180"/>
              <a:gd name="T15" fmla="*/ 18 h 176"/>
              <a:gd name="T16" fmla="*/ 92 w 180"/>
              <a:gd name="T17" fmla="*/ 0 h 176"/>
              <a:gd name="T18" fmla="*/ 48 w 180"/>
              <a:gd name="T19" fmla="*/ 18 h 176"/>
              <a:gd name="T20" fmla="*/ 47 w 180"/>
              <a:gd name="T21" fmla="*/ 18 h 176"/>
              <a:gd name="T22" fmla="*/ 46 w 180"/>
              <a:gd name="T23" fmla="*/ 19 h 176"/>
              <a:gd name="T24" fmla="*/ 45 w 180"/>
              <a:gd name="T25" fmla="*/ 21 h 176"/>
              <a:gd name="T26" fmla="*/ 45 w 180"/>
              <a:gd name="T27" fmla="*/ 21 h 176"/>
              <a:gd name="T28" fmla="*/ 3 w 180"/>
              <a:gd name="T29" fmla="*/ 92 h 176"/>
              <a:gd name="T30" fmla="*/ 2 w 180"/>
              <a:gd name="T31" fmla="*/ 92 h 176"/>
              <a:gd name="T32" fmla="*/ 1 w 180"/>
              <a:gd name="T33" fmla="*/ 93 h 176"/>
              <a:gd name="T34" fmla="*/ 0 w 180"/>
              <a:gd name="T35" fmla="*/ 95 h 176"/>
              <a:gd name="T36" fmla="*/ 0 w 180"/>
              <a:gd name="T37" fmla="*/ 95 h 176"/>
              <a:gd name="T38" fmla="*/ 3 w 180"/>
              <a:gd name="T39" fmla="*/ 157 h 176"/>
              <a:gd name="T40" fmla="*/ 49 w 180"/>
              <a:gd name="T41" fmla="*/ 176 h 176"/>
              <a:gd name="T42" fmla="*/ 90 w 180"/>
              <a:gd name="T43" fmla="*/ 158 h 176"/>
              <a:gd name="T44" fmla="*/ 131 w 180"/>
              <a:gd name="T45" fmla="*/ 176 h 176"/>
              <a:gd name="T46" fmla="*/ 177 w 180"/>
              <a:gd name="T47" fmla="*/ 157 h 176"/>
              <a:gd name="T48" fmla="*/ 180 w 180"/>
              <a:gd name="T49" fmla="*/ 95 h 176"/>
              <a:gd name="T50" fmla="*/ 131 w 180"/>
              <a:gd name="T51" fmla="*/ 81 h 176"/>
              <a:gd name="T52" fmla="*/ 150 w 180"/>
              <a:gd name="T53" fmla="*/ 102 h 176"/>
              <a:gd name="T54" fmla="*/ 116 w 180"/>
              <a:gd name="T55" fmla="*/ 103 h 176"/>
              <a:gd name="T56" fmla="*/ 100 w 180"/>
              <a:gd name="T57" fmla="*/ 95 h 176"/>
              <a:gd name="T58" fmla="*/ 128 w 180"/>
              <a:gd name="T59" fmla="*/ 74 h 176"/>
              <a:gd name="T60" fmla="*/ 94 w 180"/>
              <a:gd name="T61" fmla="*/ 41 h 176"/>
              <a:gd name="T62" fmla="*/ 128 w 180"/>
              <a:gd name="T63" fmla="*/ 74 h 176"/>
              <a:gd name="T64" fmla="*/ 86 w 180"/>
              <a:gd name="T65" fmla="*/ 89 h 176"/>
              <a:gd name="T66" fmla="*/ 53 w 180"/>
              <a:gd name="T67" fmla="*/ 27 h 176"/>
              <a:gd name="T68" fmla="*/ 86 w 180"/>
              <a:gd name="T69" fmla="*/ 41 h 176"/>
              <a:gd name="T70" fmla="*/ 122 w 180"/>
              <a:gd name="T71" fmla="*/ 21 h 176"/>
              <a:gd name="T72" fmla="*/ 59 w 180"/>
              <a:gd name="T73" fmla="*/ 21 h 176"/>
              <a:gd name="T74" fmla="*/ 49 w 180"/>
              <a:gd name="T75" fmla="*/ 81 h 176"/>
              <a:gd name="T76" fmla="*/ 49 w 180"/>
              <a:gd name="T77" fmla="*/ 109 h 176"/>
              <a:gd name="T78" fmla="*/ 49 w 180"/>
              <a:gd name="T79" fmla="*/ 81 h 176"/>
              <a:gd name="T80" fmla="*/ 9 w 180"/>
              <a:gd name="T81" fmla="*/ 101 h 176"/>
              <a:gd name="T82" fmla="*/ 45 w 180"/>
              <a:gd name="T83" fmla="*/ 167 h 176"/>
              <a:gd name="T84" fmla="*/ 8 w 180"/>
              <a:gd name="T85" fmla="*/ 101 h 176"/>
              <a:gd name="T86" fmla="*/ 86 w 180"/>
              <a:gd name="T87" fmla="*/ 101 h 176"/>
              <a:gd name="T88" fmla="*/ 53 w 180"/>
              <a:gd name="T89" fmla="*/ 166 h 176"/>
              <a:gd name="T90" fmla="*/ 94 w 180"/>
              <a:gd name="T91" fmla="*/ 101 h 176"/>
              <a:gd name="T92" fmla="*/ 128 w 180"/>
              <a:gd name="T93" fmla="*/ 166 h 176"/>
              <a:gd name="T94" fmla="*/ 94 w 180"/>
              <a:gd name="T95" fmla="*/ 101 h 176"/>
              <a:gd name="T96" fmla="*/ 135 w 180"/>
              <a:gd name="T97" fmla="*/ 167 h 176"/>
              <a:gd name="T98" fmla="*/ 172 w 180"/>
              <a:gd name="T99" fmla="*/ 101 h 1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180" h="176">
                <a:moveTo>
                  <a:pt x="180" y="95"/>
                </a:moveTo>
                <a:cubicBezTo>
                  <a:pt x="180" y="95"/>
                  <a:pt x="180" y="95"/>
                  <a:pt x="180" y="95"/>
                </a:cubicBezTo>
                <a:cubicBezTo>
                  <a:pt x="180" y="94"/>
                  <a:pt x="179" y="94"/>
                  <a:pt x="179" y="93"/>
                </a:cubicBezTo>
                <a:cubicBezTo>
                  <a:pt x="179" y="93"/>
                  <a:pt x="179" y="93"/>
                  <a:pt x="179" y="93"/>
                </a:cubicBezTo>
                <a:cubicBezTo>
                  <a:pt x="178" y="92"/>
                  <a:pt x="178" y="92"/>
                  <a:pt x="178" y="92"/>
                </a:cubicBezTo>
                <a:cubicBezTo>
                  <a:pt x="178" y="92"/>
                  <a:pt x="178" y="92"/>
                  <a:pt x="178" y="92"/>
                </a:cubicBezTo>
                <a:cubicBezTo>
                  <a:pt x="178" y="92"/>
                  <a:pt x="177" y="92"/>
                  <a:pt x="177" y="92"/>
                </a:cubicBezTo>
                <a:cubicBezTo>
                  <a:pt x="135" y="74"/>
                  <a:pt x="135" y="74"/>
                  <a:pt x="135" y="74"/>
                </a:cubicBezTo>
                <a:cubicBezTo>
                  <a:pt x="135" y="21"/>
                  <a:pt x="135" y="21"/>
                  <a:pt x="135" y="21"/>
                </a:cubicBezTo>
                <a:cubicBezTo>
                  <a:pt x="135" y="21"/>
                  <a:pt x="135" y="21"/>
                  <a:pt x="135" y="21"/>
                </a:cubicBezTo>
                <a:cubicBezTo>
                  <a:pt x="135" y="21"/>
                  <a:pt x="135" y="21"/>
                  <a:pt x="135" y="21"/>
                </a:cubicBezTo>
                <a:cubicBezTo>
                  <a:pt x="135" y="21"/>
                  <a:pt x="135" y="21"/>
                  <a:pt x="135" y="21"/>
                </a:cubicBezTo>
                <a:cubicBezTo>
                  <a:pt x="135" y="21"/>
                  <a:pt x="135" y="20"/>
                  <a:pt x="135" y="19"/>
                </a:cubicBezTo>
                <a:cubicBezTo>
                  <a:pt x="134" y="19"/>
                  <a:pt x="134" y="19"/>
                  <a:pt x="134" y="19"/>
                </a:cubicBezTo>
                <a:cubicBezTo>
                  <a:pt x="134" y="19"/>
                  <a:pt x="134" y="18"/>
                  <a:pt x="133" y="18"/>
                </a:cubicBezTo>
                <a:cubicBezTo>
                  <a:pt x="133" y="18"/>
                  <a:pt x="133" y="18"/>
                  <a:pt x="133" y="18"/>
                </a:cubicBezTo>
                <a:cubicBezTo>
                  <a:pt x="133" y="18"/>
                  <a:pt x="133" y="18"/>
                  <a:pt x="133" y="18"/>
                </a:cubicBezTo>
                <a:cubicBezTo>
                  <a:pt x="92" y="0"/>
                  <a:pt x="92" y="0"/>
                  <a:pt x="92" y="0"/>
                </a:cubicBezTo>
                <a:cubicBezTo>
                  <a:pt x="91" y="0"/>
                  <a:pt x="90" y="0"/>
                  <a:pt x="89" y="0"/>
                </a:cubicBezTo>
                <a:cubicBezTo>
                  <a:pt x="48" y="18"/>
                  <a:pt x="48" y="18"/>
                  <a:pt x="48" y="18"/>
                </a:cubicBezTo>
                <a:cubicBezTo>
                  <a:pt x="48" y="18"/>
                  <a:pt x="48" y="18"/>
                  <a:pt x="47" y="18"/>
                </a:cubicBezTo>
                <a:cubicBezTo>
                  <a:pt x="47" y="18"/>
                  <a:pt x="47" y="18"/>
                  <a:pt x="47" y="18"/>
                </a:cubicBezTo>
                <a:cubicBezTo>
                  <a:pt x="47" y="18"/>
                  <a:pt x="47" y="19"/>
                  <a:pt x="46" y="19"/>
                </a:cubicBezTo>
                <a:cubicBezTo>
                  <a:pt x="46" y="19"/>
                  <a:pt x="46" y="19"/>
                  <a:pt x="46" y="19"/>
                </a:cubicBezTo>
                <a:cubicBezTo>
                  <a:pt x="46" y="20"/>
                  <a:pt x="45" y="21"/>
                  <a:pt x="45" y="21"/>
                </a:cubicBezTo>
                <a:cubicBezTo>
                  <a:pt x="45" y="21"/>
                  <a:pt x="45" y="21"/>
                  <a:pt x="45" y="21"/>
                </a:cubicBezTo>
                <a:cubicBezTo>
                  <a:pt x="45" y="21"/>
                  <a:pt x="45" y="21"/>
                  <a:pt x="45" y="21"/>
                </a:cubicBezTo>
                <a:cubicBezTo>
                  <a:pt x="45" y="21"/>
                  <a:pt x="45" y="21"/>
                  <a:pt x="45" y="21"/>
                </a:cubicBezTo>
                <a:cubicBezTo>
                  <a:pt x="45" y="74"/>
                  <a:pt x="45" y="74"/>
                  <a:pt x="45" y="74"/>
                </a:cubicBezTo>
                <a:cubicBezTo>
                  <a:pt x="3" y="92"/>
                  <a:pt x="3" y="92"/>
                  <a:pt x="3" y="92"/>
                </a:cubicBezTo>
                <a:cubicBezTo>
                  <a:pt x="3" y="92"/>
                  <a:pt x="3" y="92"/>
                  <a:pt x="3" y="92"/>
                </a:cubicBezTo>
                <a:cubicBezTo>
                  <a:pt x="2" y="92"/>
                  <a:pt x="2" y="92"/>
                  <a:pt x="2" y="92"/>
                </a:cubicBezTo>
                <a:cubicBezTo>
                  <a:pt x="2" y="92"/>
                  <a:pt x="2" y="92"/>
                  <a:pt x="1" y="93"/>
                </a:cubicBezTo>
                <a:cubicBezTo>
                  <a:pt x="1" y="93"/>
                  <a:pt x="1" y="93"/>
                  <a:pt x="1" y="93"/>
                </a:cubicBezTo>
                <a:cubicBezTo>
                  <a:pt x="1" y="94"/>
                  <a:pt x="0" y="94"/>
                  <a:pt x="0" y="95"/>
                </a:cubicBezTo>
                <a:cubicBezTo>
                  <a:pt x="0" y="95"/>
                  <a:pt x="0" y="95"/>
                  <a:pt x="0" y="95"/>
                </a:cubicBezTo>
                <a:cubicBezTo>
                  <a:pt x="0" y="95"/>
                  <a:pt x="0" y="95"/>
                  <a:pt x="0" y="95"/>
                </a:cubicBezTo>
                <a:cubicBezTo>
                  <a:pt x="0" y="95"/>
                  <a:pt x="0" y="95"/>
                  <a:pt x="0" y="95"/>
                </a:cubicBezTo>
                <a:cubicBezTo>
                  <a:pt x="0" y="154"/>
                  <a:pt x="0" y="154"/>
                  <a:pt x="0" y="154"/>
                </a:cubicBezTo>
                <a:cubicBezTo>
                  <a:pt x="0" y="155"/>
                  <a:pt x="1" y="157"/>
                  <a:pt x="3" y="157"/>
                </a:cubicBezTo>
                <a:cubicBezTo>
                  <a:pt x="48" y="176"/>
                  <a:pt x="48" y="176"/>
                  <a:pt x="48" y="176"/>
                </a:cubicBezTo>
                <a:cubicBezTo>
                  <a:pt x="48" y="176"/>
                  <a:pt x="49" y="176"/>
                  <a:pt x="49" y="176"/>
                </a:cubicBezTo>
                <a:cubicBezTo>
                  <a:pt x="50" y="176"/>
                  <a:pt x="50" y="176"/>
                  <a:pt x="51" y="176"/>
                </a:cubicBezTo>
                <a:cubicBezTo>
                  <a:pt x="90" y="158"/>
                  <a:pt x="90" y="158"/>
                  <a:pt x="90" y="158"/>
                </a:cubicBezTo>
                <a:cubicBezTo>
                  <a:pt x="130" y="176"/>
                  <a:pt x="130" y="176"/>
                  <a:pt x="130" y="176"/>
                </a:cubicBezTo>
                <a:cubicBezTo>
                  <a:pt x="130" y="176"/>
                  <a:pt x="131" y="176"/>
                  <a:pt x="131" y="176"/>
                </a:cubicBezTo>
                <a:cubicBezTo>
                  <a:pt x="132" y="176"/>
                  <a:pt x="132" y="176"/>
                  <a:pt x="133" y="176"/>
                </a:cubicBezTo>
                <a:cubicBezTo>
                  <a:pt x="177" y="157"/>
                  <a:pt x="177" y="157"/>
                  <a:pt x="177" y="157"/>
                </a:cubicBezTo>
                <a:cubicBezTo>
                  <a:pt x="179" y="157"/>
                  <a:pt x="180" y="155"/>
                  <a:pt x="180" y="154"/>
                </a:cubicBezTo>
                <a:cubicBezTo>
                  <a:pt x="180" y="95"/>
                  <a:pt x="180" y="95"/>
                  <a:pt x="180" y="95"/>
                </a:cubicBezTo>
                <a:cubicBezTo>
                  <a:pt x="180" y="95"/>
                  <a:pt x="180" y="95"/>
                  <a:pt x="180" y="95"/>
                </a:cubicBezTo>
                <a:close/>
                <a:moveTo>
                  <a:pt x="131" y="81"/>
                </a:moveTo>
                <a:cubicBezTo>
                  <a:pt x="166" y="95"/>
                  <a:pt x="166" y="95"/>
                  <a:pt x="166" y="95"/>
                </a:cubicBezTo>
                <a:cubicBezTo>
                  <a:pt x="150" y="102"/>
                  <a:pt x="150" y="102"/>
                  <a:pt x="150" y="102"/>
                </a:cubicBezTo>
                <a:cubicBezTo>
                  <a:pt x="131" y="109"/>
                  <a:pt x="131" y="109"/>
                  <a:pt x="131" y="109"/>
                </a:cubicBezTo>
                <a:cubicBezTo>
                  <a:pt x="116" y="103"/>
                  <a:pt x="116" y="103"/>
                  <a:pt x="116" y="103"/>
                </a:cubicBezTo>
                <a:cubicBezTo>
                  <a:pt x="99" y="95"/>
                  <a:pt x="99" y="95"/>
                  <a:pt x="99" y="95"/>
                </a:cubicBezTo>
                <a:cubicBezTo>
                  <a:pt x="100" y="95"/>
                  <a:pt x="100" y="95"/>
                  <a:pt x="100" y="95"/>
                </a:cubicBezTo>
                <a:lnTo>
                  <a:pt x="131" y="81"/>
                </a:lnTo>
                <a:close/>
                <a:moveTo>
                  <a:pt x="128" y="74"/>
                </a:moveTo>
                <a:cubicBezTo>
                  <a:pt x="94" y="89"/>
                  <a:pt x="94" y="89"/>
                  <a:pt x="94" y="89"/>
                </a:cubicBezTo>
                <a:cubicBezTo>
                  <a:pt x="94" y="41"/>
                  <a:pt x="94" y="41"/>
                  <a:pt x="94" y="41"/>
                </a:cubicBezTo>
                <a:cubicBezTo>
                  <a:pt x="128" y="27"/>
                  <a:pt x="128" y="27"/>
                  <a:pt x="128" y="27"/>
                </a:cubicBezTo>
                <a:lnTo>
                  <a:pt x="128" y="74"/>
                </a:lnTo>
                <a:close/>
                <a:moveTo>
                  <a:pt x="86" y="41"/>
                </a:moveTo>
                <a:cubicBezTo>
                  <a:pt x="86" y="89"/>
                  <a:pt x="86" y="89"/>
                  <a:pt x="86" y="89"/>
                </a:cubicBezTo>
                <a:cubicBezTo>
                  <a:pt x="53" y="74"/>
                  <a:pt x="53" y="74"/>
                  <a:pt x="53" y="74"/>
                </a:cubicBezTo>
                <a:cubicBezTo>
                  <a:pt x="53" y="27"/>
                  <a:pt x="53" y="27"/>
                  <a:pt x="53" y="27"/>
                </a:cubicBezTo>
                <a:cubicBezTo>
                  <a:pt x="75" y="37"/>
                  <a:pt x="75" y="37"/>
                  <a:pt x="75" y="37"/>
                </a:cubicBezTo>
                <a:lnTo>
                  <a:pt x="86" y="41"/>
                </a:lnTo>
                <a:close/>
                <a:moveTo>
                  <a:pt x="90" y="8"/>
                </a:moveTo>
                <a:cubicBezTo>
                  <a:pt x="122" y="21"/>
                  <a:pt x="122" y="21"/>
                  <a:pt x="122" y="21"/>
                </a:cubicBezTo>
                <a:cubicBezTo>
                  <a:pt x="90" y="35"/>
                  <a:pt x="90" y="35"/>
                  <a:pt x="90" y="35"/>
                </a:cubicBezTo>
                <a:cubicBezTo>
                  <a:pt x="59" y="21"/>
                  <a:pt x="59" y="21"/>
                  <a:pt x="59" y="21"/>
                </a:cubicBezTo>
                <a:lnTo>
                  <a:pt x="90" y="8"/>
                </a:lnTo>
                <a:close/>
                <a:moveTo>
                  <a:pt x="49" y="81"/>
                </a:moveTo>
                <a:cubicBezTo>
                  <a:pt x="81" y="95"/>
                  <a:pt x="81" y="95"/>
                  <a:pt x="81" y="95"/>
                </a:cubicBezTo>
                <a:cubicBezTo>
                  <a:pt x="49" y="109"/>
                  <a:pt x="49" y="109"/>
                  <a:pt x="49" y="109"/>
                </a:cubicBezTo>
                <a:cubicBezTo>
                  <a:pt x="14" y="95"/>
                  <a:pt x="14" y="95"/>
                  <a:pt x="14" y="95"/>
                </a:cubicBezTo>
                <a:lnTo>
                  <a:pt x="49" y="81"/>
                </a:lnTo>
                <a:close/>
                <a:moveTo>
                  <a:pt x="8" y="101"/>
                </a:moveTo>
                <a:cubicBezTo>
                  <a:pt x="9" y="101"/>
                  <a:pt x="9" y="101"/>
                  <a:pt x="9" y="101"/>
                </a:cubicBezTo>
                <a:cubicBezTo>
                  <a:pt x="45" y="116"/>
                  <a:pt x="45" y="116"/>
                  <a:pt x="45" y="116"/>
                </a:cubicBezTo>
                <a:cubicBezTo>
                  <a:pt x="45" y="167"/>
                  <a:pt x="45" y="167"/>
                  <a:pt x="45" y="167"/>
                </a:cubicBezTo>
                <a:cubicBezTo>
                  <a:pt x="8" y="151"/>
                  <a:pt x="8" y="151"/>
                  <a:pt x="8" y="151"/>
                </a:cubicBezTo>
                <a:lnTo>
                  <a:pt x="8" y="101"/>
                </a:lnTo>
                <a:close/>
                <a:moveTo>
                  <a:pt x="53" y="116"/>
                </a:moveTo>
                <a:cubicBezTo>
                  <a:pt x="86" y="101"/>
                  <a:pt x="86" y="101"/>
                  <a:pt x="86" y="101"/>
                </a:cubicBezTo>
                <a:cubicBezTo>
                  <a:pt x="86" y="151"/>
                  <a:pt x="86" y="151"/>
                  <a:pt x="86" y="151"/>
                </a:cubicBezTo>
                <a:cubicBezTo>
                  <a:pt x="53" y="166"/>
                  <a:pt x="53" y="166"/>
                  <a:pt x="53" y="166"/>
                </a:cubicBezTo>
                <a:lnTo>
                  <a:pt x="53" y="116"/>
                </a:lnTo>
                <a:close/>
                <a:moveTo>
                  <a:pt x="94" y="101"/>
                </a:moveTo>
                <a:cubicBezTo>
                  <a:pt x="128" y="116"/>
                  <a:pt x="128" y="116"/>
                  <a:pt x="128" y="116"/>
                </a:cubicBezTo>
                <a:cubicBezTo>
                  <a:pt x="128" y="166"/>
                  <a:pt x="128" y="166"/>
                  <a:pt x="128" y="166"/>
                </a:cubicBezTo>
                <a:cubicBezTo>
                  <a:pt x="94" y="151"/>
                  <a:pt x="94" y="151"/>
                  <a:pt x="94" y="151"/>
                </a:cubicBezTo>
                <a:lnTo>
                  <a:pt x="94" y="101"/>
                </a:lnTo>
                <a:close/>
                <a:moveTo>
                  <a:pt x="172" y="151"/>
                </a:moveTo>
                <a:cubicBezTo>
                  <a:pt x="135" y="167"/>
                  <a:pt x="135" y="167"/>
                  <a:pt x="135" y="167"/>
                </a:cubicBezTo>
                <a:cubicBezTo>
                  <a:pt x="135" y="116"/>
                  <a:pt x="135" y="116"/>
                  <a:pt x="135" y="116"/>
                </a:cubicBezTo>
                <a:cubicBezTo>
                  <a:pt x="172" y="101"/>
                  <a:pt x="172" y="101"/>
                  <a:pt x="172" y="101"/>
                </a:cubicBezTo>
                <a:lnTo>
                  <a:pt x="172" y="151"/>
                </a:lnTo>
                <a:close/>
              </a:path>
            </a:pathLst>
          </a:custGeom>
          <a:solidFill>
            <a:srgbClr val="646363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l Sans MT" panose="020B0502020104020203" pitchFamily="34" charset="0"/>
            </a:endParaRPr>
          </a:p>
        </p:txBody>
      </p:sp>
      <p:grpSp>
        <p:nvGrpSpPr>
          <p:cNvPr id="122" name="Group 121">
            <a:extLst>
              <a:ext uri="{FF2B5EF4-FFF2-40B4-BE49-F238E27FC236}">
                <a16:creationId xmlns:a16="http://schemas.microsoft.com/office/drawing/2014/main" id="{7B2FC946-5AD0-CC61-7C4F-BCF54BED30E2}"/>
              </a:ext>
            </a:extLst>
          </p:cNvPr>
          <p:cNvGrpSpPr/>
          <p:nvPr/>
        </p:nvGrpSpPr>
        <p:grpSpPr>
          <a:xfrm>
            <a:off x="8389178" y="2696936"/>
            <a:ext cx="318856" cy="350274"/>
            <a:chOff x="592138" y="2925763"/>
            <a:chExt cx="434976" cy="477838"/>
          </a:xfrm>
          <a:solidFill>
            <a:sysClr val="window" lastClr="FFFFFF"/>
          </a:solidFill>
        </p:grpSpPr>
        <p:sp>
          <p:nvSpPr>
            <p:cNvPr id="123" name="Freeform 95">
              <a:extLst>
                <a:ext uri="{FF2B5EF4-FFF2-40B4-BE49-F238E27FC236}">
                  <a16:creationId xmlns:a16="http://schemas.microsoft.com/office/drawing/2014/main" id="{5117D1DA-189A-3F46-8B01-1CF390152B2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3576" y="2998788"/>
              <a:ext cx="292100" cy="404813"/>
            </a:xfrm>
            <a:custGeom>
              <a:avLst/>
              <a:gdLst>
                <a:gd name="T0" fmla="*/ 750 w 2029"/>
                <a:gd name="T1" fmla="*/ 299 h 2800"/>
                <a:gd name="T2" fmla="*/ 479 w 2029"/>
                <a:gd name="T3" fmla="*/ 466 h 2800"/>
                <a:gd name="T4" fmla="*/ 304 w 2029"/>
                <a:gd name="T5" fmla="*/ 723 h 2800"/>
                <a:gd name="T6" fmla="*/ 259 w 2029"/>
                <a:gd name="T7" fmla="*/ 1034 h 2800"/>
                <a:gd name="T8" fmla="*/ 314 w 2029"/>
                <a:gd name="T9" fmla="*/ 1283 h 2800"/>
                <a:gd name="T10" fmla="*/ 414 w 2029"/>
                <a:gd name="T11" fmla="*/ 1472 h 2800"/>
                <a:gd name="T12" fmla="*/ 530 w 2029"/>
                <a:gd name="T13" fmla="*/ 1646 h 2800"/>
                <a:gd name="T14" fmla="*/ 603 w 2029"/>
                <a:gd name="T15" fmla="*/ 1843 h 2800"/>
                <a:gd name="T16" fmla="*/ 647 w 2029"/>
                <a:gd name="T17" fmla="*/ 1978 h 2800"/>
                <a:gd name="T18" fmla="*/ 1346 w 2029"/>
                <a:gd name="T19" fmla="*/ 2011 h 2800"/>
                <a:gd name="T20" fmla="*/ 1421 w 2029"/>
                <a:gd name="T21" fmla="*/ 1912 h 2800"/>
                <a:gd name="T22" fmla="*/ 1460 w 2029"/>
                <a:gd name="T23" fmla="*/ 1721 h 2800"/>
                <a:gd name="T24" fmla="*/ 1570 w 2029"/>
                <a:gd name="T25" fmla="*/ 1538 h 2800"/>
                <a:gd name="T26" fmla="*/ 1678 w 2029"/>
                <a:gd name="T27" fmla="*/ 1364 h 2800"/>
                <a:gd name="T28" fmla="*/ 1756 w 2029"/>
                <a:gd name="T29" fmla="*/ 1143 h 2800"/>
                <a:gd name="T30" fmla="*/ 1760 w 2029"/>
                <a:gd name="T31" fmla="*/ 844 h 2800"/>
                <a:gd name="T32" fmla="*/ 1634 w 2029"/>
                <a:gd name="T33" fmla="*/ 559 h 2800"/>
                <a:gd name="T34" fmla="*/ 1397 w 2029"/>
                <a:gd name="T35" fmla="*/ 352 h 2800"/>
                <a:gd name="T36" fmla="*/ 1084 w 2029"/>
                <a:gd name="T37" fmla="*/ 258 h 2800"/>
                <a:gd name="T38" fmla="*/ 1258 w 2029"/>
                <a:gd name="T39" fmla="*/ 29 h 2800"/>
                <a:gd name="T40" fmla="*/ 1613 w 2029"/>
                <a:gd name="T41" fmla="*/ 188 h 2800"/>
                <a:gd name="T42" fmla="*/ 1877 w 2029"/>
                <a:gd name="T43" fmla="*/ 461 h 2800"/>
                <a:gd name="T44" fmla="*/ 2015 w 2029"/>
                <a:gd name="T45" fmla="*/ 815 h 2800"/>
                <a:gd name="T46" fmla="*/ 2013 w 2029"/>
                <a:gd name="T47" fmla="*/ 1166 h 2800"/>
                <a:gd name="T48" fmla="*/ 1934 w 2029"/>
                <a:gd name="T49" fmla="*/ 1424 h 2800"/>
                <a:gd name="T50" fmla="*/ 1825 w 2029"/>
                <a:gd name="T51" fmla="*/ 1617 h 2800"/>
                <a:gd name="T52" fmla="*/ 1714 w 2029"/>
                <a:gd name="T53" fmla="*/ 1785 h 2800"/>
                <a:gd name="T54" fmla="*/ 1677 w 2029"/>
                <a:gd name="T55" fmla="*/ 1934 h 2800"/>
                <a:gd name="T56" fmla="*/ 1572 w 2029"/>
                <a:gd name="T57" fmla="*/ 2150 h 2800"/>
                <a:gd name="T58" fmla="*/ 1487 w 2029"/>
                <a:gd name="T59" fmla="*/ 2294 h 2800"/>
                <a:gd name="T60" fmla="*/ 1480 w 2029"/>
                <a:gd name="T61" fmla="*/ 2429 h 2800"/>
                <a:gd name="T62" fmla="*/ 1476 w 2029"/>
                <a:gd name="T63" fmla="*/ 2492 h 2800"/>
                <a:gd name="T64" fmla="*/ 1446 w 2029"/>
                <a:gd name="T65" fmla="*/ 2575 h 2800"/>
                <a:gd name="T66" fmla="*/ 1340 w 2029"/>
                <a:gd name="T67" fmla="*/ 2666 h 2800"/>
                <a:gd name="T68" fmla="*/ 1184 w 2029"/>
                <a:gd name="T69" fmla="*/ 2779 h 2800"/>
                <a:gd name="T70" fmla="*/ 891 w 2029"/>
                <a:gd name="T71" fmla="*/ 2798 h 2800"/>
                <a:gd name="T72" fmla="*/ 762 w 2029"/>
                <a:gd name="T73" fmla="*/ 2698 h 2800"/>
                <a:gd name="T74" fmla="*/ 607 w 2029"/>
                <a:gd name="T75" fmla="*/ 2606 h 2800"/>
                <a:gd name="T76" fmla="*/ 556 w 2029"/>
                <a:gd name="T77" fmla="*/ 2509 h 2800"/>
                <a:gd name="T78" fmla="*/ 551 w 2029"/>
                <a:gd name="T79" fmla="*/ 2466 h 2800"/>
                <a:gd name="T80" fmla="*/ 545 w 2029"/>
                <a:gd name="T81" fmla="*/ 2350 h 2800"/>
                <a:gd name="T82" fmla="*/ 538 w 2029"/>
                <a:gd name="T83" fmla="*/ 2221 h 2800"/>
                <a:gd name="T84" fmla="*/ 376 w 2029"/>
                <a:gd name="T85" fmla="*/ 2025 h 2800"/>
                <a:gd name="T86" fmla="*/ 340 w 2029"/>
                <a:gd name="T87" fmla="*/ 1839 h 2800"/>
                <a:gd name="T88" fmla="*/ 248 w 2029"/>
                <a:gd name="T89" fmla="*/ 1682 h 2800"/>
                <a:gd name="T90" fmla="*/ 138 w 2029"/>
                <a:gd name="T91" fmla="*/ 1508 h 2800"/>
                <a:gd name="T92" fmla="*/ 41 w 2029"/>
                <a:gd name="T93" fmla="*/ 1278 h 2800"/>
                <a:gd name="T94" fmla="*/ 0 w 2029"/>
                <a:gd name="T95" fmla="*/ 973 h 2800"/>
                <a:gd name="T96" fmla="*/ 80 w 2029"/>
                <a:gd name="T97" fmla="*/ 595 h 2800"/>
                <a:gd name="T98" fmla="*/ 298 w 2029"/>
                <a:gd name="T99" fmla="*/ 286 h 2800"/>
                <a:gd name="T100" fmla="*/ 621 w 2029"/>
                <a:gd name="T101" fmla="*/ 77 h 2800"/>
                <a:gd name="T102" fmla="*/ 1014 w 2029"/>
                <a:gd name="T103" fmla="*/ 0 h 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029" h="2800">
                  <a:moveTo>
                    <a:pt x="1014" y="255"/>
                  </a:moveTo>
                  <a:lnTo>
                    <a:pt x="945" y="258"/>
                  </a:lnTo>
                  <a:lnTo>
                    <a:pt x="878" y="266"/>
                  </a:lnTo>
                  <a:lnTo>
                    <a:pt x="813" y="281"/>
                  </a:lnTo>
                  <a:lnTo>
                    <a:pt x="750" y="299"/>
                  </a:lnTo>
                  <a:lnTo>
                    <a:pt x="690" y="324"/>
                  </a:lnTo>
                  <a:lnTo>
                    <a:pt x="632" y="354"/>
                  </a:lnTo>
                  <a:lnTo>
                    <a:pt x="578" y="387"/>
                  </a:lnTo>
                  <a:lnTo>
                    <a:pt x="527" y="424"/>
                  </a:lnTo>
                  <a:lnTo>
                    <a:pt x="479" y="466"/>
                  </a:lnTo>
                  <a:lnTo>
                    <a:pt x="435" y="511"/>
                  </a:lnTo>
                  <a:lnTo>
                    <a:pt x="396" y="559"/>
                  </a:lnTo>
                  <a:lnTo>
                    <a:pt x="361" y="611"/>
                  </a:lnTo>
                  <a:lnTo>
                    <a:pt x="330" y="666"/>
                  </a:lnTo>
                  <a:lnTo>
                    <a:pt x="304" y="723"/>
                  </a:lnTo>
                  <a:lnTo>
                    <a:pt x="284" y="783"/>
                  </a:lnTo>
                  <a:lnTo>
                    <a:pt x="270" y="844"/>
                  </a:lnTo>
                  <a:lnTo>
                    <a:pt x="260" y="908"/>
                  </a:lnTo>
                  <a:lnTo>
                    <a:pt x="257" y="973"/>
                  </a:lnTo>
                  <a:lnTo>
                    <a:pt x="259" y="1034"/>
                  </a:lnTo>
                  <a:lnTo>
                    <a:pt x="264" y="1090"/>
                  </a:lnTo>
                  <a:lnTo>
                    <a:pt x="273" y="1143"/>
                  </a:lnTo>
                  <a:lnTo>
                    <a:pt x="284" y="1193"/>
                  </a:lnTo>
                  <a:lnTo>
                    <a:pt x="298" y="1240"/>
                  </a:lnTo>
                  <a:lnTo>
                    <a:pt x="314" y="1283"/>
                  </a:lnTo>
                  <a:lnTo>
                    <a:pt x="331" y="1325"/>
                  </a:lnTo>
                  <a:lnTo>
                    <a:pt x="351" y="1364"/>
                  </a:lnTo>
                  <a:lnTo>
                    <a:pt x="371" y="1402"/>
                  </a:lnTo>
                  <a:lnTo>
                    <a:pt x="393" y="1437"/>
                  </a:lnTo>
                  <a:lnTo>
                    <a:pt x="414" y="1472"/>
                  </a:lnTo>
                  <a:lnTo>
                    <a:pt x="437" y="1505"/>
                  </a:lnTo>
                  <a:lnTo>
                    <a:pt x="458" y="1537"/>
                  </a:lnTo>
                  <a:lnTo>
                    <a:pt x="483" y="1573"/>
                  </a:lnTo>
                  <a:lnTo>
                    <a:pt x="507" y="1610"/>
                  </a:lnTo>
                  <a:lnTo>
                    <a:pt x="530" y="1646"/>
                  </a:lnTo>
                  <a:lnTo>
                    <a:pt x="551" y="1683"/>
                  </a:lnTo>
                  <a:lnTo>
                    <a:pt x="569" y="1721"/>
                  </a:lnTo>
                  <a:lnTo>
                    <a:pt x="584" y="1760"/>
                  </a:lnTo>
                  <a:lnTo>
                    <a:pt x="595" y="1800"/>
                  </a:lnTo>
                  <a:lnTo>
                    <a:pt x="603" y="1843"/>
                  </a:lnTo>
                  <a:lnTo>
                    <a:pt x="605" y="1888"/>
                  </a:lnTo>
                  <a:lnTo>
                    <a:pt x="608" y="1912"/>
                  </a:lnTo>
                  <a:lnTo>
                    <a:pt x="617" y="1936"/>
                  </a:lnTo>
                  <a:lnTo>
                    <a:pt x="630" y="1958"/>
                  </a:lnTo>
                  <a:lnTo>
                    <a:pt x="647" y="1978"/>
                  </a:lnTo>
                  <a:lnTo>
                    <a:pt x="665" y="1996"/>
                  </a:lnTo>
                  <a:lnTo>
                    <a:pt x="683" y="2011"/>
                  </a:lnTo>
                  <a:lnTo>
                    <a:pt x="701" y="2025"/>
                  </a:lnTo>
                  <a:lnTo>
                    <a:pt x="1328" y="2025"/>
                  </a:lnTo>
                  <a:lnTo>
                    <a:pt x="1346" y="2011"/>
                  </a:lnTo>
                  <a:lnTo>
                    <a:pt x="1364" y="1996"/>
                  </a:lnTo>
                  <a:lnTo>
                    <a:pt x="1383" y="1978"/>
                  </a:lnTo>
                  <a:lnTo>
                    <a:pt x="1399" y="1958"/>
                  </a:lnTo>
                  <a:lnTo>
                    <a:pt x="1412" y="1936"/>
                  </a:lnTo>
                  <a:lnTo>
                    <a:pt x="1421" y="1912"/>
                  </a:lnTo>
                  <a:lnTo>
                    <a:pt x="1424" y="1888"/>
                  </a:lnTo>
                  <a:lnTo>
                    <a:pt x="1426" y="1843"/>
                  </a:lnTo>
                  <a:lnTo>
                    <a:pt x="1434" y="1800"/>
                  </a:lnTo>
                  <a:lnTo>
                    <a:pt x="1445" y="1760"/>
                  </a:lnTo>
                  <a:lnTo>
                    <a:pt x="1460" y="1721"/>
                  </a:lnTo>
                  <a:lnTo>
                    <a:pt x="1478" y="1684"/>
                  </a:lnTo>
                  <a:lnTo>
                    <a:pt x="1498" y="1646"/>
                  </a:lnTo>
                  <a:lnTo>
                    <a:pt x="1520" y="1610"/>
                  </a:lnTo>
                  <a:lnTo>
                    <a:pt x="1545" y="1574"/>
                  </a:lnTo>
                  <a:lnTo>
                    <a:pt x="1570" y="1538"/>
                  </a:lnTo>
                  <a:lnTo>
                    <a:pt x="1592" y="1506"/>
                  </a:lnTo>
                  <a:lnTo>
                    <a:pt x="1614" y="1473"/>
                  </a:lnTo>
                  <a:lnTo>
                    <a:pt x="1636" y="1438"/>
                  </a:lnTo>
                  <a:lnTo>
                    <a:pt x="1658" y="1402"/>
                  </a:lnTo>
                  <a:lnTo>
                    <a:pt x="1678" y="1364"/>
                  </a:lnTo>
                  <a:lnTo>
                    <a:pt x="1698" y="1325"/>
                  </a:lnTo>
                  <a:lnTo>
                    <a:pt x="1715" y="1283"/>
                  </a:lnTo>
                  <a:lnTo>
                    <a:pt x="1731" y="1240"/>
                  </a:lnTo>
                  <a:lnTo>
                    <a:pt x="1745" y="1193"/>
                  </a:lnTo>
                  <a:lnTo>
                    <a:pt x="1756" y="1143"/>
                  </a:lnTo>
                  <a:lnTo>
                    <a:pt x="1765" y="1090"/>
                  </a:lnTo>
                  <a:lnTo>
                    <a:pt x="1770" y="1034"/>
                  </a:lnTo>
                  <a:lnTo>
                    <a:pt x="1772" y="973"/>
                  </a:lnTo>
                  <a:lnTo>
                    <a:pt x="1769" y="908"/>
                  </a:lnTo>
                  <a:lnTo>
                    <a:pt x="1760" y="844"/>
                  </a:lnTo>
                  <a:lnTo>
                    <a:pt x="1745" y="782"/>
                  </a:lnTo>
                  <a:lnTo>
                    <a:pt x="1725" y="723"/>
                  </a:lnTo>
                  <a:lnTo>
                    <a:pt x="1700" y="666"/>
                  </a:lnTo>
                  <a:lnTo>
                    <a:pt x="1668" y="610"/>
                  </a:lnTo>
                  <a:lnTo>
                    <a:pt x="1634" y="559"/>
                  </a:lnTo>
                  <a:lnTo>
                    <a:pt x="1594" y="511"/>
                  </a:lnTo>
                  <a:lnTo>
                    <a:pt x="1550" y="466"/>
                  </a:lnTo>
                  <a:lnTo>
                    <a:pt x="1503" y="424"/>
                  </a:lnTo>
                  <a:lnTo>
                    <a:pt x="1451" y="386"/>
                  </a:lnTo>
                  <a:lnTo>
                    <a:pt x="1397" y="352"/>
                  </a:lnTo>
                  <a:lnTo>
                    <a:pt x="1339" y="324"/>
                  </a:lnTo>
                  <a:lnTo>
                    <a:pt x="1278" y="299"/>
                  </a:lnTo>
                  <a:lnTo>
                    <a:pt x="1216" y="281"/>
                  </a:lnTo>
                  <a:lnTo>
                    <a:pt x="1151" y="266"/>
                  </a:lnTo>
                  <a:lnTo>
                    <a:pt x="1084" y="258"/>
                  </a:lnTo>
                  <a:lnTo>
                    <a:pt x="1014" y="255"/>
                  </a:lnTo>
                  <a:close/>
                  <a:moveTo>
                    <a:pt x="1014" y="0"/>
                  </a:moveTo>
                  <a:lnTo>
                    <a:pt x="1097" y="3"/>
                  </a:lnTo>
                  <a:lnTo>
                    <a:pt x="1179" y="13"/>
                  </a:lnTo>
                  <a:lnTo>
                    <a:pt x="1258" y="29"/>
                  </a:lnTo>
                  <a:lnTo>
                    <a:pt x="1335" y="50"/>
                  </a:lnTo>
                  <a:lnTo>
                    <a:pt x="1408" y="77"/>
                  </a:lnTo>
                  <a:lnTo>
                    <a:pt x="1480" y="109"/>
                  </a:lnTo>
                  <a:lnTo>
                    <a:pt x="1548" y="147"/>
                  </a:lnTo>
                  <a:lnTo>
                    <a:pt x="1613" y="188"/>
                  </a:lnTo>
                  <a:lnTo>
                    <a:pt x="1673" y="235"/>
                  </a:lnTo>
                  <a:lnTo>
                    <a:pt x="1731" y="286"/>
                  </a:lnTo>
                  <a:lnTo>
                    <a:pt x="1783" y="340"/>
                  </a:lnTo>
                  <a:lnTo>
                    <a:pt x="1833" y="399"/>
                  </a:lnTo>
                  <a:lnTo>
                    <a:pt x="1877" y="461"/>
                  </a:lnTo>
                  <a:lnTo>
                    <a:pt x="1915" y="526"/>
                  </a:lnTo>
                  <a:lnTo>
                    <a:pt x="1949" y="595"/>
                  </a:lnTo>
                  <a:lnTo>
                    <a:pt x="1976" y="667"/>
                  </a:lnTo>
                  <a:lnTo>
                    <a:pt x="1999" y="739"/>
                  </a:lnTo>
                  <a:lnTo>
                    <a:pt x="2015" y="815"/>
                  </a:lnTo>
                  <a:lnTo>
                    <a:pt x="2025" y="893"/>
                  </a:lnTo>
                  <a:lnTo>
                    <a:pt x="2029" y="973"/>
                  </a:lnTo>
                  <a:lnTo>
                    <a:pt x="2026" y="1041"/>
                  </a:lnTo>
                  <a:lnTo>
                    <a:pt x="2021" y="1105"/>
                  </a:lnTo>
                  <a:lnTo>
                    <a:pt x="2013" y="1166"/>
                  </a:lnTo>
                  <a:lnTo>
                    <a:pt x="2001" y="1224"/>
                  </a:lnTo>
                  <a:lnTo>
                    <a:pt x="1988" y="1278"/>
                  </a:lnTo>
                  <a:lnTo>
                    <a:pt x="1972" y="1329"/>
                  </a:lnTo>
                  <a:lnTo>
                    <a:pt x="1953" y="1378"/>
                  </a:lnTo>
                  <a:lnTo>
                    <a:pt x="1934" y="1424"/>
                  </a:lnTo>
                  <a:lnTo>
                    <a:pt x="1913" y="1466"/>
                  </a:lnTo>
                  <a:lnTo>
                    <a:pt x="1892" y="1507"/>
                  </a:lnTo>
                  <a:lnTo>
                    <a:pt x="1869" y="1546"/>
                  </a:lnTo>
                  <a:lnTo>
                    <a:pt x="1847" y="1583"/>
                  </a:lnTo>
                  <a:lnTo>
                    <a:pt x="1825" y="1617"/>
                  </a:lnTo>
                  <a:lnTo>
                    <a:pt x="1803" y="1649"/>
                  </a:lnTo>
                  <a:lnTo>
                    <a:pt x="1781" y="1681"/>
                  </a:lnTo>
                  <a:lnTo>
                    <a:pt x="1756" y="1719"/>
                  </a:lnTo>
                  <a:lnTo>
                    <a:pt x="1733" y="1753"/>
                  </a:lnTo>
                  <a:lnTo>
                    <a:pt x="1714" y="1785"/>
                  </a:lnTo>
                  <a:lnTo>
                    <a:pt x="1700" y="1813"/>
                  </a:lnTo>
                  <a:lnTo>
                    <a:pt x="1689" y="1839"/>
                  </a:lnTo>
                  <a:lnTo>
                    <a:pt x="1682" y="1864"/>
                  </a:lnTo>
                  <a:lnTo>
                    <a:pt x="1680" y="1888"/>
                  </a:lnTo>
                  <a:lnTo>
                    <a:pt x="1677" y="1934"/>
                  </a:lnTo>
                  <a:lnTo>
                    <a:pt x="1667" y="1980"/>
                  </a:lnTo>
                  <a:lnTo>
                    <a:pt x="1652" y="2025"/>
                  </a:lnTo>
                  <a:lnTo>
                    <a:pt x="1630" y="2068"/>
                  </a:lnTo>
                  <a:lnTo>
                    <a:pt x="1604" y="2110"/>
                  </a:lnTo>
                  <a:lnTo>
                    <a:pt x="1572" y="2150"/>
                  </a:lnTo>
                  <a:lnTo>
                    <a:pt x="1534" y="2187"/>
                  </a:lnTo>
                  <a:lnTo>
                    <a:pt x="1491" y="2221"/>
                  </a:lnTo>
                  <a:lnTo>
                    <a:pt x="1490" y="2242"/>
                  </a:lnTo>
                  <a:lnTo>
                    <a:pt x="1489" y="2267"/>
                  </a:lnTo>
                  <a:lnTo>
                    <a:pt x="1487" y="2294"/>
                  </a:lnTo>
                  <a:lnTo>
                    <a:pt x="1486" y="2322"/>
                  </a:lnTo>
                  <a:lnTo>
                    <a:pt x="1484" y="2350"/>
                  </a:lnTo>
                  <a:lnTo>
                    <a:pt x="1483" y="2378"/>
                  </a:lnTo>
                  <a:lnTo>
                    <a:pt x="1481" y="2405"/>
                  </a:lnTo>
                  <a:lnTo>
                    <a:pt x="1480" y="2429"/>
                  </a:lnTo>
                  <a:lnTo>
                    <a:pt x="1479" y="2449"/>
                  </a:lnTo>
                  <a:lnTo>
                    <a:pt x="1478" y="2466"/>
                  </a:lnTo>
                  <a:lnTo>
                    <a:pt x="1478" y="2476"/>
                  </a:lnTo>
                  <a:lnTo>
                    <a:pt x="1476" y="2479"/>
                  </a:lnTo>
                  <a:lnTo>
                    <a:pt x="1476" y="2492"/>
                  </a:lnTo>
                  <a:lnTo>
                    <a:pt x="1474" y="2506"/>
                  </a:lnTo>
                  <a:lnTo>
                    <a:pt x="1470" y="2522"/>
                  </a:lnTo>
                  <a:lnTo>
                    <a:pt x="1465" y="2539"/>
                  </a:lnTo>
                  <a:lnTo>
                    <a:pt x="1457" y="2557"/>
                  </a:lnTo>
                  <a:lnTo>
                    <a:pt x="1446" y="2575"/>
                  </a:lnTo>
                  <a:lnTo>
                    <a:pt x="1432" y="2594"/>
                  </a:lnTo>
                  <a:lnTo>
                    <a:pt x="1416" y="2613"/>
                  </a:lnTo>
                  <a:lnTo>
                    <a:pt x="1395" y="2631"/>
                  </a:lnTo>
                  <a:lnTo>
                    <a:pt x="1370" y="2650"/>
                  </a:lnTo>
                  <a:lnTo>
                    <a:pt x="1340" y="2666"/>
                  </a:lnTo>
                  <a:lnTo>
                    <a:pt x="1307" y="2683"/>
                  </a:lnTo>
                  <a:lnTo>
                    <a:pt x="1267" y="2698"/>
                  </a:lnTo>
                  <a:lnTo>
                    <a:pt x="1244" y="2727"/>
                  </a:lnTo>
                  <a:lnTo>
                    <a:pt x="1216" y="2754"/>
                  </a:lnTo>
                  <a:lnTo>
                    <a:pt x="1184" y="2779"/>
                  </a:lnTo>
                  <a:lnTo>
                    <a:pt x="1162" y="2790"/>
                  </a:lnTo>
                  <a:lnTo>
                    <a:pt x="1138" y="2798"/>
                  </a:lnTo>
                  <a:lnTo>
                    <a:pt x="1113" y="2800"/>
                  </a:lnTo>
                  <a:lnTo>
                    <a:pt x="916" y="2800"/>
                  </a:lnTo>
                  <a:lnTo>
                    <a:pt x="891" y="2798"/>
                  </a:lnTo>
                  <a:lnTo>
                    <a:pt x="867" y="2790"/>
                  </a:lnTo>
                  <a:lnTo>
                    <a:pt x="845" y="2779"/>
                  </a:lnTo>
                  <a:lnTo>
                    <a:pt x="813" y="2754"/>
                  </a:lnTo>
                  <a:lnTo>
                    <a:pt x="785" y="2727"/>
                  </a:lnTo>
                  <a:lnTo>
                    <a:pt x="762" y="2698"/>
                  </a:lnTo>
                  <a:lnTo>
                    <a:pt x="720" y="2681"/>
                  </a:lnTo>
                  <a:lnTo>
                    <a:pt x="684" y="2664"/>
                  </a:lnTo>
                  <a:lnTo>
                    <a:pt x="653" y="2646"/>
                  </a:lnTo>
                  <a:lnTo>
                    <a:pt x="628" y="2626"/>
                  </a:lnTo>
                  <a:lnTo>
                    <a:pt x="607" y="2606"/>
                  </a:lnTo>
                  <a:lnTo>
                    <a:pt x="590" y="2585"/>
                  </a:lnTo>
                  <a:lnTo>
                    <a:pt x="578" y="2566"/>
                  </a:lnTo>
                  <a:lnTo>
                    <a:pt x="567" y="2546"/>
                  </a:lnTo>
                  <a:lnTo>
                    <a:pt x="561" y="2527"/>
                  </a:lnTo>
                  <a:lnTo>
                    <a:pt x="556" y="2509"/>
                  </a:lnTo>
                  <a:lnTo>
                    <a:pt x="554" y="2494"/>
                  </a:lnTo>
                  <a:lnTo>
                    <a:pt x="552" y="2479"/>
                  </a:lnTo>
                  <a:lnTo>
                    <a:pt x="552" y="2479"/>
                  </a:lnTo>
                  <a:lnTo>
                    <a:pt x="552" y="2476"/>
                  </a:lnTo>
                  <a:lnTo>
                    <a:pt x="551" y="2466"/>
                  </a:lnTo>
                  <a:lnTo>
                    <a:pt x="550" y="2449"/>
                  </a:lnTo>
                  <a:lnTo>
                    <a:pt x="549" y="2429"/>
                  </a:lnTo>
                  <a:lnTo>
                    <a:pt x="548" y="2405"/>
                  </a:lnTo>
                  <a:lnTo>
                    <a:pt x="546" y="2378"/>
                  </a:lnTo>
                  <a:lnTo>
                    <a:pt x="545" y="2350"/>
                  </a:lnTo>
                  <a:lnTo>
                    <a:pt x="543" y="2322"/>
                  </a:lnTo>
                  <a:lnTo>
                    <a:pt x="542" y="2294"/>
                  </a:lnTo>
                  <a:lnTo>
                    <a:pt x="540" y="2267"/>
                  </a:lnTo>
                  <a:lnTo>
                    <a:pt x="539" y="2242"/>
                  </a:lnTo>
                  <a:lnTo>
                    <a:pt x="538" y="2221"/>
                  </a:lnTo>
                  <a:lnTo>
                    <a:pt x="495" y="2187"/>
                  </a:lnTo>
                  <a:lnTo>
                    <a:pt x="457" y="2150"/>
                  </a:lnTo>
                  <a:lnTo>
                    <a:pt x="425" y="2110"/>
                  </a:lnTo>
                  <a:lnTo>
                    <a:pt x="398" y="2068"/>
                  </a:lnTo>
                  <a:lnTo>
                    <a:pt x="376" y="2025"/>
                  </a:lnTo>
                  <a:lnTo>
                    <a:pt x="362" y="1980"/>
                  </a:lnTo>
                  <a:lnTo>
                    <a:pt x="352" y="1934"/>
                  </a:lnTo>
                  <a:lnTo>
                    <a:pt x="349" y="1888"/>
                  </a:lnTo>
                  <a:lnTo>
                    <a:pt x="347" y="1864"/>
                  </a:lnTo>
                  <a:lnTo>
                    <a:pt x="340" y="1839"/>
                  </a:lnTo>
                  <a:lnTo>
                    <a:pt x="329" y="1813"/>
                  </a:lnTo>
                  <a:lnTo>
                    <a:pt x="315" y="1785"/>
                  </a:lnTo>
                  <a:lnTo>
                    <a:pt x="296" y="1753"/>
                  </a:lnTo>
                  <a:lnTo>
                    <a:pt x="274" y="1719"/>
                  </a:lnTo>
                  <a:lnTo>
                    <a:pt x="248" y="1682"/>
                  </a:lnTo>
                  <a:lnTo>
                    <a:pt x="227" y="1650"/>
                  </a:lnTo>
                  <a:lnTo>
                    <a:pt x="205" y="1617"/>
                  </a:lnTo>
                  <a:lnTo>
                    <a:pt x="182" y="1583"/>
                  </a:lnTo>
                  <a:lnTo>
                    <a:pt x="160" y="1546"/>
                  </a:lnTo>
                  <a:lnTo>
                    <a:pt x="138" y="1508"/>
                  </a:lnTo>
                  <a:lnTo>
                    <a:pt x="116" y="1466"/>
                  </a:lnTo>
                  <a:lnTo>
                    <a:pt x="95" y="1424"/>
                  </a:lnTo>
                  <a:lnTo>
                    <a:pt x="76" y="1378"/>
                  </a:lnTo>
                  <a:lnTo>
                    <a:pt x="57" y="1329"/>
                  </a:lnTo>
                  <a:lnTo>
                    <a:pt x="41" y="1278"/>
                  </a:lnTo>
                  <a:lnTo>
                    <a:pt x="28" y="1224"/>
                  </a:lnTo>
                  <a:lnTo>
                    <a:pt x="16" y="1166"/>
                  </a:lnTo>
                  <a:lnTo>
                    <a:pt x="8" y="1105"/>
                  </a:lnTo>
                  <a:lnTo>
                    <a:pt x="2" y="1041"/>
                  </a:lnTo>
                  <a:lnTo>
                    <a:pt x="0" y="973"/>
                  </a:lnTo>
                  <a:lnTo>
                    <a:pt x="4" y="893"/>
                  </a:lnTo>
                  <a:lnTo>
                    <a:pt x="14" y="815"/>
                  </a:lnTo>
                  <a:lnTo>
                    <a:pt x="30" y="739"/>
                  </a:lnTo>
                  <a:lnTo>
                    <a:pt x="53" y="667"/>
                  </a:lnTo>
                  <a:lnTo>
                    <a:pt x="80" y="595"/>
                  </a:lnTo>
                  <a:lnTo>
                    <a:pt x="114" y="526"/>
                  </a:lnTo>
                  <a:lnTo>
                    <a:pt x="152" y="461"/>
                  </a:lnTo>
                  <a:lnTo>
                    <a:pt x="196" y="399"/>
                  </a:lnTo>
                  <a:lnTo>
                    <a:pt x="246" y="340"/>
                  </a:lnTo>
                  <a:lnTo>
                    <a:pt x="298" y="286"/>
                  </a:lnTo>
                  <a:lnTo>
                    <a:pt x="356" y="235"/>
                  </a:lnTo>
                  <a:lnTo>
                    <a:pt x="416" y="188"/>
                  </a:lnTo>
                  <a:lnTo>
                    <a:pt x="481" y="147"/>
                  </a:lnTo>
                  <a:lnTo>
                    <a:pt x="549" y="109"/>
                  </a:lnTo>
                  <a:lnTo>
                    <a:pt x="621" y="77"/>
                  </a:lnTo>
                  <a:lnTo>
                    <a:pt x="695" y="50"/>
                  </a:lnTo>
                  <a:lnTo>
                    <a:pt x="771" y="29"/>
                  </a:lnTo>
                  <a:lnTo>
                    <a:pt x="850" y="13"/>
                  </a:lnTo>
                  <a:lnTo>
                    <a:pt x="932" y="3"/>
                  </a:lnTo>
                  <a:lnTo>
                    <a:pt x="101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 panose="020B0502020104020203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4" name="Freeform 96">
              <a:extLst>
                <a:ext uri="{FF2B5EF4-FFF2-40B4-BE49-F238E27FC236}">
                  <a16:creationId xmlns:a16="http://schemas.microsoft.com/office/drawing/2014/main" id="{E2B56557-7F84-D384-8E58-8F1B6B1597F1}"/>
                </a:ext>
              </a:extLst>
            </p:cNvPr>
            <p:cNvSpPr>
              <a:spLocks/>
            </p:cNvSpPr>
            <p:nvPr/>
          </p:nvSpPr>
          <p:spPr bwMode="auto">
            <a:xfrm>
              <a:off x="800101" y="2925763"/>
              <a:ext cx="19050" cy="46038"/>
            </a:xfrm>
            <a:custGeom>
              <a:avLst/>
              <a:gdLst>
                <a:gd name="T0" fmla="*/ 63 w 127"/>
                <a:gd name="T1" fmla="*/ 0 h 318"/>
                <a:gd name="T2" fmla="*/ 63 w 127"/>
                <a:gd name="T3" fmla="*/ 0 h 318"/>
                <a:gd name="T4" fmla="*/ 80 w 127"/>
                <a:gd name="T5" fmla="*/ 2 h 318"/>
                <a:gd name="T6" fmla="*/ 96 w 127"/>
                <a:gd name="T7" fmla="*/ 9 h 318"/>
                <a:gd name="T8" fmla="*/ 109 w 127"/>
                <a:gd name="T9" fmla="*/ 19 h 318"/>
                <a:gd name="T10" fmla="*/ 119 w 127"/>
                <a:gd name="T11" fmla="*/ 32 h 318"/>
                <a:gd name="T12" fmla="*/ 125 w 127"/>
                <a:gd name="T13" fmla="*/ 47 h 318"/>
                <a:gd name="T14" fmla="*/ 127 w 127"/>
                <a:gd name="T15" fmla="*/ 64 h 318"/>
                <a:gd name="T16" fmla="*/ 127 w 127"/>
                <a:gd name="T17" fmla="*/ 254 h 318"/>
                <a:gd name="T18" fmla="*/ 125 w 127"/>
                <a:gd name="T19" fmla="*/ 272 h 318"/>
                <a:gd name="T20" fmla="*/ 119 w 127"/>
                <a:gd name="T21" fmla="*/ 286 h 318"/>
                <a:gd name="T22" fmla="*/ 109 w 127"/>
                <a:gd name="T23" fmla="*/ 300 h 318"/>
                <a:gd name="T24" fmla="*/ 96 w 127"/>
                <a:gd name="T25" fmla="*/ 309 h 318"/>
                <a:gd name="T26" fmla="*/ 80 w 127"/>
                <a:gd name="T27" fmla="*/ 315 h 318"/>
                <a:gd name="T28" fmla="*/ 63 w 127"/>
                <a:gd name="T29" fmla="*/ 318 h 318"/>
                <a:gd name="T30" fmla="*/ 47 w 127"/>
                <a:gd name="T31" fmla="*/ 315 h 318"/>
                <a:gd name="T32" fmla="*/ 31 w 127"/>
                <a:gd name="T33" fmla="*/ 309 h 318"/>
                <a:gd name="T34" fmla="*/ 18 w 127"/>
                <a:gd name="T35" fmla="*/ 300 h 318"/>
                <a:gd name="T36" fmla="*/ 8 w 127"/>
                <a:gd name="T37" fmla="*/ 286 h 318"/>
                <a:gd name="T38" fmla="*/ 2 w 127"/>
                <a:gd name="T39" fmla="*/ 272 h 318"/>
                <a:gd name="T40" fmla="*/ 0 w 127"/>
                <a:gd name="T41" fmla="*/ 254 h 318"/>
                <a:gd name="T42" fmla="*/ 0 w 127"/>
                <a:gd name="T43" fmla="*/ 64 h 318"/>
                <a:gd name="T44" fmla="*/ 2 w 127"/>
                <a:gd name="T45" fmla="*/ 47 h 318"/>
                <a:gd name="T46" fmla="*/ 8 w 127"/>
                <a:gd name="T47" fmla="*/ 32 h 318"/>
                <a:gd name="T48" fmla="*/ 18 w 127"/>
                <a:gd name="T49" fmla="*/ 19 h 318"/>
                <a:gd name="T50" fmla="*/ 31 w 127"/>
                <a:gd name="T51" fmla="*/ 9 h 318"/>
                <a:gd name="T52" fmla="*/ 47 w 127"/>
                <a:gd name="T53" fmla="*/ 2 h 318"/>
                <a:gd name="T54" fmla="*/ 63 w 127"/>
                <a:gd name="T55" fmla="*/ 0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27" h="318">
                  <a:moveTo>
                    <a:pt x="63" y="0"/>
                  </a:moveTo>
                  <a:lnTo>
                    <a:pt x="63" y="0"/>
                  </a:lnTo>
                  <a:lnTo>
                    <a:pt x="80" y="2"/>
                  </a:lnTo>
                  <a:lnTo>
                    <a:pt x="96" y="9"/>
                  </a:lnTo>
                  <a:lnTo>
                    <a:pt x="109" y="19"/>
                  </a:lnTo>
                  <a:lnTo>
                    <a:pt x="119" y="32"/>
                  </a:lnTo>
                  <a:lnTo>
                    <a:pt x="125" y="47"/>
                  </a:lnTo>
                  <a:lnTo>
                    <a:pt x="127" y="64"/>
                  </a:lnTo>
                  <a:lnTo>
                    <a:pt x="127" y="254"/>
                  </a:lnTo>
                  <a:lnTo>
                    <a:pt x="125" y="272"/>
                  </a:lnTo>
                  <a:lnTo>
                    <a:pt x="119" y="286"/>
                  </a:lnTo>
                  <a:lnTo>
                    <a:pt x="109" y="300"/>
                  </a:lnTo>
                  <a:lnTo>
                    <a:pt x="96" y="309"/>
                  </a:lnTo>
                  <a:lnTo>
                    <a:pt x="80" y="315"/>
                  </a:lnTo>
                  <a:lnTo>
                    <a:pt x="63" y="318"/>
                  </a:lnTo>
                  <a:lnTo>
                    <a:pt x="47" y="315"/>
                  </a:lnTo>
                  <a:lnTo>
                    <a:pt x="31" y="309"/>
                  </a:lnTo>
                  <a:lnTo>
                    <a:pt x="18" y="300"/>
                  </a:lnTo>
                  <a:lnTo>
                    <a:pt x="8" y="286"/>
                  </a:lnTo>
                  <a:lnTo>
                    <a:pt x="2" y="272"/>
                  </a:lnTo>
                  <a:lnTo>
                    <a:pt x="0" y="254"/>
                  </a:lnTo>
                  <a:lnTo>
                    <a:pt x="0" y="64"/>
                  </a:lnTo>
                  <a:lnTo>
                    <a:pt x="2" y="47"/>
                  </a:lnTo>
                  <a:lnTo>
                    <a:pt x="8" y="32"/>
                  </a:lnTo>
                  <a:lnTo>
                    <a:pt x="18" y="19"/>
                  </a:lnTo>
                  <a:lnTo>
                    <a:pt x="31" y="9"/>
                  </a:lnTo>
                  <a:lnTo>
                    <a:pt x="47" y="2"/>
                  </a:lnTo>
                  <a:lnTo>
                    <a:pt x="6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 panose="020B0502020104020203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5" name="Freeform 97">
              <a:extLst>
                <a:ext uri="{FF2B5EF4-FFF2-40B4-BE49-F238E27FC236}">
                  <a16:creationId xmlns:a16="http://schemas.microsoft.com/office/drawing/2014/main" id="{ADEB8A02-4BF2-6A54-96BF-0067FDDC66F3}"/>
                </a:ext>
              </a:extLst>
            </p:cNvPr>
            <p:cNvSpPr>
              <a:spLocks/>
            </p:cNvSpPr>
            <p:nvPr/>
          </p:nvSpPr>
          <p:spPr bwMode="auto">
            <a:xfrm>
              <a:off x="696913" y="2954338"/>
              <a:ext cx="31750" cy="41275"/>
            </a:xfrm>
            <a:custGeom>
              <a:avLst/>
              <a:gdLst>
                <a:gd name="T0" fmla="*/ 64 w 224"/>
                <a:gd name="T1" fmla="*/ 0 h 293"/>
                <a:gd name="T2" fmla="*/ 80 w 224"/>
                <a:gd name="T3" fmla="*/ 2 h 293"/>
                <a:gd name="T4" fmla="*/ 95 w 224"/>
                <a:gd name="T5" fmla="*/ 8 h 293"/>
                <a:gd name="T6" fmla="*/ 109 w 224"/>
                <a:gd name="T7" fmla="*/ 18 h 293"/>
                <a:gd name="T8" fmla="*/ 119 w 224"/>
                <a:gd name="T9" fmla="*/ 32 h 293"/>
                <a:gd name="T10" fmla="*/ 216 w 224"/>
                <a:gd name="T11" fmla="*/ 197 h 293"/>
                <a:gd name="T12" fmla="*/ 222 w 224"/>
                <a:gd name="T13" fmla="*/ 213 h 293"/>
                <a:gd name="T14" fmla="*/ 224 w 224"/>
                <a:gd name="T15" fmla="*/ 230 h 293"/>
                <a:gd name="T16" fmla="*/ 222 w 224"/>
                <a:gd name="T17" fmla="*/ 245 h 293"/>
                <a:gd name="T18" fmla="*/ 216 w 224"/>
                <a:gd name="T19" fmla="*/ 261 h 293"/>
                <a:gd name="T20" fmla="*/ 206 w 224"/>
                <a:gd name="T21" fmla="*/ 274 h 293"/>
                <a:gd name="T22" fmla="*/ 193 w 224"/>
                <a:gd name="T23" fmla="*/ 285 h 293"/>
                <a:gd name="T24" fmla="*/ 177 w 224"/>
                <a:gd name="T25" fmla="*/ 291 h 293"/>
                <a:gd name="T26" fmla="*/ 160 w 224"/>
                <a:gd name="T27" fmla="*/ 293 h 293"/>
                <a:gd name="T28" fmla="*/ 143 w 224"/>
                <a:gd name="T29" fmla="*/ 291 h 293"/>
                <a:gd name="T30" fmla="*/ 129 w 224"/>
                <a:gd name="T31" fmla="*/ 285 h 293"/>
                <a:gd name="T32" fmla="*/ 115 w 224"/>
                <a:gd name="T33" fmla="*/ 274 h 293"/>
                <a:gd name="T34" fmla="*/ 105 w 224"/>
                <a:gd name="T35" fmla="*/ 261 h 293"/>
                <a:gd name="T36" fmla="*/ 8 w 224"/>
                <a:gd name="T37" fmla="*/ 95 h 293"/>
                <a:gd name="T38" fmla="*/ 2 w 224"/>
                <a:gd name="T39" fmla="*/ 80 h 293"/>
                <a:gd name="T40" fmla="*/ 0 w 224"/>
                <a:gd name="T41" fmla="*/ 63 h 293"/>
                <a:gd name="T42" fmla="*/ 2 w 224"/>
                <a:gd name="T43" fmla="*/ 48 h 293"/>
                <a:gd name="T44" fmla="*/ 8 w 224"/>
                <a:gd name="T45" fmla="*/ 32 h 293"/>
                <a:gd name="T46" fmla="*/ 19 w 224"/>
                <a:gd name="T47" fmla="*/ 19 h 293"/>
                <a:gd name="T48" fmla="*/ 31 w 224"/>
                <a:gd name="T49" fmla="*/ 9 h 293"/>
                <a:gd name="T50" fmla="*/ 48 w 224"/>
                <a:gd name="T51" fmla="*/ 2 h 293"/>
                <a:gd name="T52" fmla="*/ 64 w 224"/>
                <a:gd name="T53" fmla="*/ 0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24" h="293">
                  <a:moveTo>
                    <a:pt x="64" y="0"/>
                  </a:moveTo>
                  <a:lnTo>
                    <a:pt x="80" y="2"/>
                  </a:lnTo>
                  <a:lnTo>
                    <a:pt x="95" y="8"/>
                  </a:lnTo>
                  <a:lnTo>
                    <a:pt x="109" y="18"/>
                  </a:lnTo>
                  <a:lnTo>
                    <a:pt x="119" y="32"/>
                  </a:lnTo>
                  <a:lnTo>
                    <a:pt x="216" y="197"/>
                  </a:lnTo>
                  <a:lnTo>
                    <a:pt x="222" y="213"/>
                  </a:lnTo>
                  <a:lnTo>
                    <a:pt x="224" y="230"/>
                  </a:lnTo>
                  <a:lnTo>
                    <a:pt x="222" y="245"/>
                  </a:lnTo>
                  <a:lnTo>
                    <a:pt x="216" y="261"/>
                  </a:lnTo>
                  <a:lnTo>
                    <a:pt x="206" y="274"/>
                  </a:lnTo>
                  <a:lnTo>
                    <a:pt x="193" y="285"/>
                  </a:lnTo>
                  <a:lnTo>
                    <a:pt x="177" y="291"/>
                  </a:lnTo>
                  <a:lnTo>
                    <a:pt x="160" y="293"/>
                  </a:lnTo>
                  <a:lnTo>
                    <a:pt x="143" y="291"/>
                  </a:lnTo>
                  <a:lnTo>
                    <a:pt x="129" y="285"/>
                  </a:lnTo>
                  <a:lnTo>
                    <a:pt x="115" y="274"/>
                  </a:lnTo>
                  <a:lnTo>
                    <a:pt x="105" y="261"/>
                  </a:lnTo>
                  <a:lnTo>
                    <a:pt x="8" y="95"/>
                  </a:lnTo>
                  <a:lnTo>
                    <a:pt x="2" y="80"/>
                  </a:lnTo>
                  <a:lnTo>
                    <a:pt x="0" y="63"/>
                  </a:lnTo>
                  <a:lnTo>
                    <a:pt x="2" y="48"/>
                  </a:lnTo>
                  <a:lnTo>
                    <a:pt x="8" y="32"/>
                  </a:lnTo>
                  <a:lnTo>
                    <a:pt x="19" y="19"/>
                  </a:lnTo>
                  <a:lnTo>
                    <a:pt x="31" y="9"/>
                  </a:lnTo>
                  <a:lnTo>
                    <a:pt x="48" y="2"/>
                  </a:lnTo>
                  <a:lnTo>
                    <a:pt x="6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 panose="020B0502020104020203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6" name="Freeform 98">
              <a:extLst>
                <a:ext uri="{FF2B5EF4-FFF2-40B4-BE49-F238E27FC236}">
                  <a16:creationId xmlns:a16="http://schemas.microsoft.com/office/drawing/2014/main" id="{B5ACDCEB-C35B-9477-3C04-B0BB3205AA30}"/>
                </a:ext>
              </a:extLst>
            </p:cNvPr>
            <p:cNvSpPr>
              <a:spLocks/>
            </p:cNvSpPr>
            <p:nvPr/>
          </p:nvSpPr>
          <p:spPr bwMode="auto">
            <a:xfrm>
              <a:off x="620713" y="3028950"/>
              <a:ext cx="41275" cy="33338"/>
            </a:xfrm>
            <a:custGeom>
              <a:avLst/>
              <a:gdLst>
                <a:gd name="T0" fmla="*/ 64 w 294"/>
                <a:gd name="T1" fmla="*/ 0 h 222"/>
                <a:gd name="T2" fmla="*/ 79 w 294"/>
                <a:gd name="T3" fmla="*/ 2 h 222"/>
                <a:gd name="T4" fmla="*/ 96 w 294"/>
                <a:gd name="T5" fmla="*/ 8 h 222"/>
                <a:gd name="T6" fmla="*/ 263 w 294"/>
                <a:gd name="T7" fmla="*/ 103 h 222"/>
                <a:gd name="T8" fmla="*/ 276 w 294"/>
                <a:gd name="T9" fmla="*/ 114 h 222"/>
                <a:gd name="T10" fmla="*/ 286 w 294"/>
                <a:gd name="T11" fmla="*/ 127 h 222"/>
                <a:gd name="T12" fmla="*/ 292 w 294"/>
                <a:gd name="T13" fmla="*/ 142 h 222"/>
                <a:gd name="T14" fmla="*/ 294 w 294"/>
                <a:gd name="T15" fmla="*/ 158 h 222"/>
                <a:gd name="T16" fmla="*/ 292 w 294"/>
                <a:gd name="T17" fmla="*/ 175 h 222"/>
                <a:gd name="T18" fmla="*/ 286 w 294"/>
                <a:gd name="T19" fmla="*/ 190 h 222"/>
                <a:gd name="T20" fmla="*/ 275 w 294"/>
                <a:gd name="T21" fmla="*/ 204 h 222"/>
                <a:gd name="T22" fmla="*/ 262 w 294"/>
                <a:gd name="T23" fmla="*/ 214 h 222"/>
                <a:gd name="T24" fmla="*/ 246 w 294"/>
                <a:gd name="T25" fmla="*/ 220 h 222"/>
                <a:gd name="T26" fmla="*/ 230 w 294"/>
                <a:gd name="T27" fmla="*/ 222 h 222"/>
                <a:gd name="T28" fmla="*/ 213 w 294"/>
                <a:gd name="T29" fmla="*/ 220 h 222"/>
                <a:gd name="T30" fmla="*/ 198 w 294"/>
                <a:gd name="T31" fmla="*/ 213 h 222"/>
                <a:gd name="T32" fmla="*/ 31 w 294"/>
                <a:gd name="T33" fmla="*/ 118 h 222"/>
                <a:gd name="T34" fmla="*/ 18 w 294"/>
                <a:gd name="T35" fmla="*/ 108 h 222"/>
                <a:gd name="T36" fmla="*/ 8 w 294"/>
                <a:gd name="T37" fmla="*/ 95 h 222"/>
                <a:gd name="T38" fmla="*/ 2 w 294"/>
                <a:gd name="T39" fmla="*/ 80 h 222"/>
                <a:gd name="T40" fmla="*/ 0 w 294"/>
                <a:gd name="T41" fmla="*/ 63 h 222"/>
                <a:gd name="T42" fmla="*/ 2 w 294"/>
                <a:gd name="T43" fmla="*/ 47 h 222"/>
                <a:gd name="T44" fmla="*/ 8 w 294"/>
                <a:gd name="T45" fmla="*/ 31 h 222"/>
                <a:gd name="T46" fmla="*/ 19 w 294"/>
                <a:gd name="T47" fmla="*/ 18 h 222"/>
                <a:gd name="T48" fmla="*/ 32 w 294"/>
                <a:gd name="T49" fmla="*/ 8 h 222"/>
                <a:gd name="T50" fmla="*/ 47 w 294"/>
                <a:gd name="T51" fmla="*/ 2 h 222"/>
                <a:gd name="T52" fmla="*/ 64 w 294"/>
                <a:gd name="T53" fmla="*/ 0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94" h="222">
                  <a:moveTo>
                    <a:pt x="64" y="0"/>
                  </a:moveTo>
                  <a:lnTo>
                    <a:pt x="79" y="2"/>
                  </a:lnTo>
                  <a:lnTo>
                    <a:pt x="96" y="8"/>
                  </a:lnTo>
                  <a:lnTo>
                    <a:pt x="263" y="103"/>
                  </a:lnTo>
                  <a:lnTo>
                    <a:pt x="276" y="114"/>
                  </a:lnTo>
                  <a:lnTo>
                    <a:pt x="286" y="127"/>
                  </a:lnTo>
                  <a:lnTo>
                    <a:pt x="292" y="142"/>
                  </a:lnTo>
                  <a:lnTo>
                    <a:pt x="294" y="158"/>
                  </a:lnTo>
                  <a:lnTo>
                    <a:pt x="292" y="175"/>
                  </a:lnTo>
                  <a:lnTo>
                    <a:pt x="286" y="190"/>
                  </a:lnTo>
                  <a:lnTo>
                    <a:pt x="275" y="204"/>
                  </a:lnTo>
                  <a:lnTo>
                    <a:pt x="262" y="214"/>
                  </a:lnTo>
                  <a:lnTo>
                    <a:pt x="246" y="220"/>
                  </a:lnTo>
                  <a:lnTo>
                    <a:pt x="230" y="222"/>
                  </a:lnTo>
                  <a:lnTo>
                    <a:pt x="213" y="220"/>
                  </a:lnTo>
                  <a:lnTo>
                    <a:pt x="198" y="213"/>
                  </a:lnTo>
                  <a:lnTo>
                    <a:pt x="31" y="118"/>
                  </a:lnTo>
                  <a:lnTo>
                    <a:pt x="18" y="108"/>
                  </a:lnTo>
                  <a:lnTo>
                    <a:pt x="8" y="95"/>
                  </a:lnTo>
                  <a:lnTo>
                    <a:pt x="2" y="80"/>
                  </a:lnTo>
                  <a:lnTo>
                    <a:pt x="0" y="63"/>
                  </a:lnTo>
                  <a:lnTo>
                    <a:pt x="2" y="47"/>
                  </a:lnTo>
                  <a:lnTo>
                    <a:pt x="8" y="31"/>
                  </a:lnTo>
                  <a:lnTo>
                    <a:pt x="19" y="18"/>
                  </a:lnTo>
                  <a:lnTo>
                    <a:pt x="32" y="8"/>
                  </a:lnTo>
                  <a:lnTo>
                    <a:pt x="47" y="2"/>
                  </a:lnTo>
                  <a:lnTo>
                    <a:pt x="6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 panose="020B0502020104020203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7" name="Freeform 99">
              <a:extLst>
                <a:ext uri="{FF2B5EF4-FFF2-40B4-BE49-F238E27FC236}">
                  <a16:creationId xmlns:a16="http://schemas.microsoft.com/office/drawing/2014/main" id="{36129269-005D-44EF-40BC-F60CA878784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138" y="3132138"/>
              <a:ext cx="46038" cy="19050"/>
            </a:xfrm>
            <a:custGeom>
              <a:avLst/>
              <a:gdLst>
                <a:gd name="T0" fmla="*/ 64 w 321"/>
                <a:gd name="T1" fmla="*/ 0 h 128"/>
                <a:gd name="T2" fmla="*/ 257 w 321"/>
                <a:gd name="T3" fmla="*/ 0 h 128"/>
                <a:gd name="T4" fmla="*/ 273 w 321"/>
                <a:gd name="T5" fmla="*/ 4 h 128"/>
                <a:gd name="T6" fmla="*/ 289 w 321"/>
                <a:gd name="T7" fmla="*/ 10 h 128"/>
                <a:gd name="T8" fmla="*/ 302 w 321"/>
                <a:gd name="T9" fmla="*/ 19 h 128"/>
                <a:gd name="T10" fmla="*/ 312 w 321"/>
                <a:gd name="T11" fmla="*/ 33 h 128"/>
                <a:gd name="T12" fmla="*/ 318 w 321"/>
                <a:gd name="T13" fmla="*/ 47 h 128"/>
                <a:gd name="T14" fmla="*/ 321 w 321"/>
                <a:gd name="T15" fmla="*/ 65 h 128"/>
                <a:gd name="T16" fmla="*/ 318 w 321"/>
                <a:gd name="T17" fmla="*/ 82 h 128"/>
                <a:gd name="T18" fmla="*/ 312 w 321"/>
                <a:gd name="T19" fmla="*/ 96 h 128"/>
                <a:gd name="T20" fmla="*/ 302 w 321"/>
                <a:gd name="T21" fmla="*/ 110 h 128"/>
                <a:gd name="T22" fmla="*/ 289 w 321"/>
                <a:gd name="T23" fmla="*/ 119 h 128"/>
                <a:gd name="T24" fmla="*/ 273 w 321"/>
                <a:gd name="T25" fmla="*/ 126 h 128"/>
                <a:gd name="T26" fmla="*/ 257 w 321"/>
                <a:gd name="T27" fmla="*/ 128 h 128"/>
                <a:gd name="T28" fmla="*/ 64 w 321"/>
                <a:gd name="T29" fmla="*/ 128 h 128"/>
                <a:gd name="T30" fmla="*/ 47 w 321"/>
                <a:gd name="T31" fmla="*/ 126 h 128"/>
                <a:gd name="T32" fmla="*/ 32 w 321"/>
                <a:gd name="T33" fmla="*/ 119 h 128"/>
                <a:gd name="T34" fmla="*/ 19 w 321"/>
                <a:gd name="T35" fmla="*/ 110 h 128"/>
                <a:gd name="T36" fmla="*/ 9 w 321"/>
                <a:gd name="T37" fmla="*/ 96 h 128"/>
                <a:gd name="T38" fmla="*/ 2 w 321"/>
                <a:gd name="T39" fmla="*/ 82 h 128"/>
                <a:gd name="T40" fmla="*/ 0 w 321"/>
                <a:gd name="T41" fmla="*/ 65 h 128"/>
                <a:gd name="T42" fmla="*/ 2 w 321"/>
                <a:gd name="T43" fmla="*/ 47 h 128"/>
                <a:gd name="T44" fmla="*/ 9 w 321"/>
                <a:gd name="T45" fmla="*/ 33 h 128"/>
                <a:gd name="T46" fmla="*/ 19 w 321"/>
                <a:gd name="T47" fmla="*/ 19 h 128"/>
                <a:gd name="T48" fmla="*/ 32 w 321"/>
                <a:gd name="T49" fmla="*/ 10 h 128"/>
                <a:gd name="T50" fmla="*/ 47 w 321"/>
                <a:gd name="T51" fmla="*/ 4 h 128"/>
                <a:gd name="T52" fmla="*/ 64 w 321"/>
                <a:gd name="T53" fmla="*/ 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21" h="128">
                  <a:moveTo>
                    <a:pt x="64" y="0"/>
                  </a:moveTo>
                  <a:lnTo>
                    <a:pt x="257" y="0"/>
                  </a:lnTo>
                  <a:lnTo>
                    <a:pt x="273" y="4"/>
                  </a:lnTo>
                  <a:lnTo>
                    <a:pt x="289" y="10"/>
                  </a:lnTo>
                  <a:lnTo>
                    <a:pt x="302" y="19"/>
                  </a:lnTo>
                  <a:lnTo>
                    <a:pt x="312" y="33"/>
                  </a:lnTo>
                  <a:lnTo>
                    <a:pt x="318" y="47"/>
                  </a:lnTo>
                  <a:lnTo>
                    <a:pt x="321" y="65"/>
                  </a:lnTo>
                  <a:lnTo>
                    <a:pt x="318" y="82"/>
                  </a:lnTo>
                  <a:lnTo>
                    <a:pt x="312" y="96"/>
                  </a:lnTo>
                  <a:lnTo>
                    <a:pt x="302" y="110"/>
                  </a:lnTo>
                  <a:lnTo>
                    <a:pt x="289" y="119"/>
                  </a:lnTo>
                  <a:lnTo>
                    <a:pt x="273" y="126"/>
                  </a:lnTo>
                  <a:lnTo>
                    <a:pt x="257" y="128"/>
                  </a:lnTo>
                  <a:lnTo>
                    <a:pt x="64" y="128"/>
                  </a:lnTo>
                  <a:lnTo>
                    <a:pt x="47" y="126"/>
                  </a:lnTo>
                  <a:lnTo>
                    <a:pt x="32" y="119"/>
                  </a:lnTo>
                  <a:lnTo>
                    <a:pt x="19" y="110"/>
                  </a:lnTo>
                  <a:lnTo>
                    <a:pt x="9" y="96"/>
                  </a:lnTo>
                  <a:lnTo>
                    <a:pt x="2" y="82"/>
                  </a:lnTo>
                  <a:lnTo>
                    <a:pt x="0" y="65"/>
                  </a:lnTo>
                  <a:lnTo>
                    <a:pt x="2" y="47"/>
                  </a:lnTo>
                  <a:lnTo>
                    <a:pt x="9" y="33"/>
                  </a:lnTo>
                  <a:lnTo>
                    <a:pt x="19" y="19"/>
                  </a:lnTo>
                  <a:lnTo>
                    <a:pt x="32" y="10"/>
                  </a:lnTo>
                  <a:lnTo>
                    <a:pt x="47" y="4"/>
                  </a:lnTo>
                  <a:lnTo>
                    <a:pt x="6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 panose="020B0502020104020203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8" name="Freeform 100">
              <a:extLst>
                <a:ext uri="{FF2B5EF4-FFF2-40B4-BE49-F238E27FC236}">
                  <a16:creationId xmlns:a16="http://schemas.microsoft.com/office/drawing/2014/main" id="{2AB2ECBE-9276-993C-615D-0BE42F840FD0}"/>
                </a:ext>
              </a:extLst>
            </p:cNvPr>
            <p:cNvSpPr>
              <a:spLocks/>
            </p:cNvSpPr>
            <p:nvPr/>
          </p:nvSpPr>
          <p:spPr bwMode="auto">
            <a:xfrm>
              <a:off x="620713" y="3222625"/>
              <a:ext cx="41275" cy="31750"/>
            </a:xfrm>
            <a:custGeom>
              <a:avLst/>
              <a:gdLst>
                <a:gd name="T0" fmla="*/ 230 w 294"/>
                <a:gd name="T1" fmla="*/ 0 h 224"/>
                <a:gd name="T2" fmla="*/ 247 w 294"/>
                <a:gd name="T3" fmla="*/ 3 h 224"/>
                <a:gd name="T4" fmla="*/ 262 w 294"/>
                <a:gd name="T5" fmla="*/ 9 h 224"/>
                <a:gd name="T6" fmla="*/ 275 w 294"/>
                <a:gd name="T7" fmla="*/ 19 h 224"/>
                <a:gd name="T8" fmla="*/ 286 w 294"/>
                <a:gd name="T9" fmla="*/ 33 h 224"/>
                <a:gd name="T10" fmla="*/ 292 w 294"/>
                <a:gd name="T11" fmla="*/ 48 h 224"/>
                <a:gd name="T12" fmla="*/ 294 w 294"/>
                <a:gd name="T13" fmla="*/ 65 h 224"/>
                <a:gd name="T14" fmla="*/ 292 w 294"/>
                <a:gd name="T15" fmla="*/ 80 h 224"/>
                <a:gd name="T16" fmla="*/ 286 w 294"/>
                <a:gd name="T17" fmla="*/ 96 h 224"/>
                <a:gd name="T18" fmla="*/ 275 w 294"/>
                <a:gd name="T19" fmla="*/ 110 h 224"/>
                <a:gd name="T20" fmla="*/ 263 w 294"/>
                <a:gd name="T21" fmla="*/ 120 h 224"/>
                <a:gd name="T22" fmla="*/ 96 w 294"/>
                <a:gd name="T23" fmla="*/ 215 h 224"/>
                <a:gd name="T24" fmla="*/ 80 w 294"/>
                <a:gd name="T25" fmla="*/ 221 h 224"/>
                <a:gd name="T26" fmla="*/ 64 w 294"/>
                <a:gd name="T27" fmla="*/ 224 h 224"/>
                <a:gd name="T28" fmla="*/ 47 w 294"/>
                <a:gd name="T29" fmla="*/ 221 h 224"/>
                <a:gd name="T30" fmla="*/ 32 w 294"/>
                <a:gd name="T31" fmla="*/ 216 h 224"/>
                <a:gd name="T32" fmla="*/ 19 w 294"/>
                <a:gd name="T33" fmla="*/ 205 h 224"/>
                <a:gd name="T34" fmla="*/ 8 w 294"/>
                <a:gd name="T35" fmla="*/ 192 h 224"/>
                <a:gd name="T36" fmla="*/ 2 w 294"/>
                <a:gd name="T37" fmla="*/ 176 h 224"/>
                <a:gd name="T38" fmla="*/ 0 w 294"/>
                <a:gd name="T39" fmla="*/ 159 h 224"/>
                <a:gd name="T40" fmla="*/ 2 w 294"/>
                <a:gd name="T41" fmla="*/ 144 h 224"/>
                <a:gd name="T42" fmla="*/ 8 w 294"/>
                <a:gd name="T43" fmla="*/ 128 h 224"/>
                <a:gd name="T44" fmla="*/ 18 w 294"/>
                <a:gd name="T45" fmla="*/ 116 h 224"/>
                <a:gd name="T46" fmla="*/ 31 w 294"/>
                <a:gd name="T47" fmla="*/ 105 h 224"/>
                <a:gd name="T48" fmla="*/ 198 w 294"/>
                <a:gd name="T49" fmla="*/ 10 h 224"/>
                <a:gd name="T50" fmla="*/ 215 w 294"/>
                <a:gd name="T51" fmla="*/ 2 h 224"/>
                <a:gd name="T52" fmla="*/ 230 w 294"/>
                <a:gd name="T53" fmla="*/ 0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94" h="224">
                  <a:moveTo>
                    <a:pt x="230" y="0"/>
                  </a:moveTo>
                  <a:lnTo>
                    <a:pt x="247" y="3"/>
                  </a:lnTo>
                  <a:lnTo>
                    <a:pt x="262" y="9"/>
                  </a:lnTo>
                  <a:lnTo>
                    <a:pt x="275" y="19"/>
                  </a:lnTo>
                  <a:lnTo>
                    <a:pt x="286" y="33"/>
                  </a:lnTo>
                  <a:lnTo>
                    <a:pt x="292" y="48"/>
                  </a:lnTo>
                  <a:lnTo>
                    <a:pt x="294" y="65"/>
                  </a:lnTo>
                  <a:lnTo>
                    <a:pt x="292" y="80"/>
                  </a:lnTo>
                  <a:lnTo>
                    <a:pt x="286" y="96"/>
                  </a:lnTo>
                  <a:lnTo>
                    <a:pt x="275" y="110"/>
                  </a:lnTo>
                  <a:lnTo>
                    <a:pt x="263" y="120"/>
                  </a:lnTo>
                  <a:lnTo>
                    <a:pt x="96" y="215"/>
                  </a:lnTo>
                  <a:lnTo>
                    <a:pt x="80" y="221"/>
                  </a:lnTo>
                  <a:lnTo>
                    <a:pt x="64" y="224"/>
                  </a:lnTo>
                  <a:lnTo>
                    <a:pt x="47" y="221"/>
                  </a:lnTo>
                  <a:lnTo>
                    <a:pt x="32" y="216"/>
                  </a:lnTo>
                  <a:lnTo>
                    <a:pt x="19" y="205"/>
                  </a:lnTo>
                  <a:lnTo>
                    <a:pt x="8" y="192"/>
                  </a:lnTo>
                  <a:lnTo>
                    <a:pt x="2" y="176"/>
                  </a:lnTo>
                  <a:lnTo>
                    <a:pt x="0" y="159"/>
                  </a:lnTo>
                  <a:lnTo>
                    <a:pt x="2" y="144"/>
                  </a:lnTo>
                  <a:lnTo>
                    <a:pt x="8" y="128"/>
                  </a:lnTo>
                  <a:lnTo>
                    <a:pt x="18" y="116"/>
                  </a:lnTo>
                  <a:lnTo>
                    <a:pt x="31" y="105"/>
                  </a:lnTo>
                  <a:lnTo>
                    <a:pt x="198" y="10"/>
                  </a:lnTo>
                  <a:lnTo>
                    <a:pt x="215" y="2"/>
                  </a:lnTo>
                  <a:lnTo>
                    <a:pt x="23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 panose="020B0502020104020203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9" name="Freeform 101">
              <a:extLst>
                <a:ext uri="{FF2B5EF4-FFF2-40B4-BE49-F238E27FC236}">
                  <a16:creationId xmlns:a16="http://schemas.microsoft.com/office/drawing/2014/main" id="{61E310CB-080B-B82F-D693-8AFC6AE01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263" y="3222625"/>
              <a:ext cx="41275" cy="31750"/>
            </a:xfrm>
            <a:custGeom>
              <a:avLst/>
              <a:gdLst>
                <a:gd name="T0" fmla="*/ 64 w 294"/>
                <a:gd name="T1" fmla="*/ 0 h 224"/>
                <a:gd name="T2" fmla="*/ 80 w 294"/>
                <a:gd name="T3" fmla="*/ 2 h 224"/>
                <a:gd name="T4" fmla="*/ 96 w 294"/>
                <a:gd name="T5" fmla="*/ 10 h 224"/>
                <a:gd name="T6" fmla="*/ 263 w 294"/>
                <a:gd name="T7" fmla="*/ 105 h 224"/>
                <a:gd name="T8" fmla="*/ 276 w 294"/>
                <a:gd name="T9" fmla="*/ 116 h 224"/>
                <a:gd name="T10" fmla="*/ 286 w 294"/>
                <a:gd name="T11" fmla="*/ 128 h 224"/>
                <a:gd name="T12" fmla="*/ 292 w 294"/>
                <a:gd name="T13" fmla="*/ 144 h 224"/>
                <a:gd name="T14" fmla="*/ 294 w 294"/>
                <a:gd name="T15" fmla="*/ 159 h 224"/>
                <a:gd name="T16" fmla="*/ 292 w 294"/>
                <a:gd name="T17" fmla="*/ 176 h 224"/>
                <a:gd name="T18" fmla="*/ 286 w 294"/>
                <a:gd name="T19" fmla="*/ 192 h 224"/>
                <a:gd name="T20" fmla="*/ 275 w 294"/>
                <a:gd name="T21" fmla="*/ 205 h 224"/>
                <a:gd name="T22" fmla="*/ 262 w 294"/>
                <a:gd name="T23" fmla="*/ 216 h 224"/>
                <a:gd name="T24" fmla="*/ 247 w 294"/>
                <a:gd name="T25" fmla="*/ 221 h 224"/>
                <a:gd name="T26" fmla="*/ 230 w 294"/>
                <a:gd name="T27" fmla="*/ 224 h 224"/>
                <a:gd name="T28" fmla="*/ 214 w 294"/>
                <a:gd name="T29" fmla="*/ 221 h 224"/>
                <a:gd name="T30" fmla="*/ 198 w 294"/>
                <a:gd name="T31" fmla="*/ 215 h 224"/>
                <a:gd name="T32" fmla="*/ 31 w 294"/>
                <a:gd name="T33" fmla="*/ 120 h 224"/>
                <a:gd name="T34" fmla="*/ 19 w 294"/>
                <a:gd name="T35" fmla="*/ 110 h 224"/>
                <a:gd name="T36" fmla="*/ 8 w 294"/>
                <a:gd name="T37" fmla="*/ 96 h 224"/>
                <a:gd name="T38" fmla="*/ 2 w 294"/>
                <a:gd name="T39" fmla="*/ 80 h 224"/>
                <a:gd name="T40" fmla="*/ 0 w 294"/>
                <a:gd name="T41" fmla="*/ 65 h 224"/>
                <a:gd name="T42" fmla="*/ 2 w 294"/>
                <a:gd name="T43" fmla="*/ 48 h 224"/>
                <a:gd name="T44" fmla="*/ 8 w 294"/>
                <a:gd name="T45" fmla="*/ 33 h 224"/>
                <a:gd name="T46" fmla="*/ 19 w 294"/>
                <a:gd name="T47" fmla="*/ 19 h 224"/>
                <a:gd name="T48" fmla="*/ 32 w 294"/>
                <a:gd name="T49" fmla="*/ 9 h 224"/>
                <a:gd name="T50" fmla="*/ 47 w 294"/>
                <a:gd name="T51" fmla="*/ 3 h 224"/>
                <a:gd name="T52" fmla="*/ 64 w 294"/>
                <a:gd name="T53" fmla="*/ 0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94" h="224">
                  <a:moveTo>
                    <a:pt x="64" y="0"/>
                  </a:moveTo>
                  <a:lnTo>
                    <a:pt x="80" y="2"/>
                  </a:lnTo>
                  <a:lnTo>
                    <a:pt x="96" y="10"/>
                  </a:lnTo>
                  <a:lnTo>
                    <a:pt x="263" y="105"/>
                  </a:lnTo>
                  <a:lnTo>
                    <a:pt x="276" y="116"/>
                  </a:lnTo>
                  <a:lnTo>
                    <a:pt x="286" y="128"/>
                  </a:lnTo>
                  <a:lnTo>
                    <a:pt x="292" y="144"/>
                  </a:lnTo>
                  <a:lnTo>
                    <a:pt x="294" y="159"/>
                  </a:lnTo>
                  <a:lnTo>
                    <a:pt x="292" y="176"/>
                  </a:lnTo>
                  <a:lnTo>
                    <a:pt x="286" y="192"/>
                  </a:lnTo>
                  <a:lnTo>
                    <a:pt x="275" y="205"/>
                  </a:lnTo>
                  <a:lnTo>
                    <a:pt x="262" y="216"/>
                  </a:lnTo>
                  <a:lnTo>
                    <a:pt x="247" y="221"/>
                  </a:lnTo>
                  <a:lnTo>
                    <a:pt x="230" y="224"/>
                  </a:lnTo>
                  <a:lnTo>
                    <a:pt x="214" y="221"/>
                  </a:lnTo>
                  <a:lnTo>
                    <a:pt x="198" y="215"/>
                  </a:lnTo>
                  <a:lnTo>
                    <a:pt x="31" y="120"/>
                  </a:lnTo>
                  <a:lnTo>
                    <a:pt x="19" y="110"/>
                  </a:lnTo>
                  <a:lnTo>
                    <a:pt x="8" y="96"/>
                  </a:lnTo>
                  <a:lnTo>
                    <a:pt x="2" y="80"/>
                  </a:lnTo>
                  <a:lnTo>
                    <a:pt x="0" y="65"/>
                  </a:lnTo>
                  <a:lnTo>
                    <a:pt x="2" y="48"/>
                  </a:lnTo>
                  <a:lnTo>
                    <a:pt x="8" y="33"/>
                  </a:lnTo>
                  <a:lnTo>
                    <a:pt x="19" y="19"/>
                  </a:lnTo>
                  <a:lnTo>
                    <a:pt x="32" y="9"/>
                  </a:lnTo>
                  <a:lnTo>
                    <a:pt x="47" y="3"/>
                  </a:lnTo>
                  <a:lnTo>
                    <a:pt x="6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 panose="020B0502020104020203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0" name="Freeform 102">
              <a:extLst>
                <a:ext uri="{FF2B5EF4-FFF2-40B4-BE49-F238E27FC236}">
                  <a16:creationId xmlns:a16="http://schemas.microsoft.com/office/drawing/2014/main" id="{FC8F5903-D858-C5E2-3835-9E284321B813}"/>
                </a:ext>
              </a:extLst>
            </p:cNvPr>
            <p:cNvSpPr>
              <a:spLocks/>
            </p:cNvSpPr>
            <p:nvPr/>
          </p:nvSpPr>
          <p:spPr bwMode="auto">
            <a:xfrm>
              <a:off x="981076" y="3132138"/>
              <a:ext cx="46038" cy="19050"/>
            </a:xfrm>
            <a:custGeom>
              <a:avLst/>
              <a:gdLst>
                <a:gd name="T0" fmla="*/ 64 w 321"/>
                <a:gd name="T1" fmla="*/ 0 h 128"/>
                <a:gd name="T2" fmla="*/ 257 w 321"/>
                <a:gd name="T3" fmla="*/ 0 h 128"/>
                <a:gd name="T4" fmla="*/ 274 w 321"/>
                <a:gd name="T5" fmla="*/ 4 h 128"/>
                <a:gd name="T6" fmla="*/ 290 w 321"/>
                <a:gd name="T7" fmla="*/ 10 h 128"/>
                <a:gd name="T8" fmla="*/ 302 w 321"/>
                <a:gd name="T9" fmla="*/ 19 h 128"/>
                <a:gd name="T10" fmla="*/ 312 w 321"/>
                <a:gd name="T11" fmla="*/ 33 h 128"/>
                <a:gd name="T12" fmla="*/ 319 w 321"/>
                <a:gd name="T13" fmla="*/ 47 h 128"/>
                <a:gd name="T14" fmla="*/ 321 w 321"/>
                <a:gd name="T15" fmla="*/ 65 h 128"/>
                <a:gd name="T16" fmla="*/ 319 w 321"/>
                <a:gd name="T17" fmla="*/ 82 h 128"/>
                <a:gd name="T18" fmla="*/ 312 w 321"/>
                <a:gd name="T19" fmla="*/ 96 h 128"/>
                <a:gd name="T20" fmla="*/ 302 w 321"/>
                <a:gd name="T21" fmla="*/ 110 h 128"/>
                <a:gd name="T22" fmla="*/ 290 w 321"/>
                <a:gd name="T23" fmla="*/ 119 h 128"/>
                <a:gd name="T24" fmla="*/ 274 w 321"/>
                <a:gd name="T25" fmla="*/ 126 h 128"/>
                <a:gd name="T26" fmla="*/ 257 w 321"/>
                <a:gd name="T27" fmla="*/ 128 h 128"/>
                <a:gd name="T28" fmla="*/ 64 w 321"/>
                <a:gd name="T29" fmla="*/ 128 h 128"/>
                <a:gd name="T30" fmla="*/ 48 w 321"/>
                <a:gd name="T31" fmla="*/ 126 h 128"/>
                <a:gd name="T32" fmla="*/ 32 w 321"/>
                <a:gd name="T33" fmla="*/ 119 h 128"/>
                <a:gd name="T34" fmla="*/ 19 w 321"/>
                <a:gd name="T35" fmla="*/ 110 h 128"/>
                <a:gd name="T36" fmla="*/ 9 w 321"/>
                <a:gd name="T37" fmla="*/ 96 h 128"/>
                <a:gd name="T38" fmla="*/ 3 w 321"/>
                <a:gd name="T39" fmla="*/ 82 h 128"/>
                <a:gd name="T40" fmla="*/ 0 w 321"/>
                <a:gd name="T41" fmla="*/ 65 h 128"/>
                <a:gd name="T42" fmla="*/ 3 w 321"/>
                <a:gd name="T43" fmla="*/ 47 h 128"/>
                <a:gd name="T44" fmla="*/ 9 w 321"/>
                <a:gd name="T45" fmla="*/ 33 h 128"/>
                <a:gd name="T46" fmla="*/ 19 w 321"/>
                <a:gd name="T47" fmla="*/ 19 h 128"/>
                <a:gd name="T48" fmla="*/ 32 w 321"/>
                <a:gd name="T49" fmla="*/ 10 h 128"/>
                <a:gd name="T50" fmla="*/ 48 w 321"/>
                <a:gd name="T51" fmla="*/ 4 h 128"/>
                <a:gd name="T52" fmla="*/ 64 w 321"/>
                <a:gd name="T53" fmla="*/ 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21" h="128">
                  <a:moveTo>
                    <a:pt x="64" y="0"/>
                  </a:moveTo>
                  <a:lnTo>
                    <a:pt x="257" y="0"/>
                  </a:lnTo>
                  <a:lnTo>
                    <a:pt x="274" y="4"/>
                  </a:lnTo>
                  <a:lnTo>
                    <a:pt x="290" y="10"/>
                  </a:lnTo>
                  <a:lnTo>
                    <a:pt x="302" y="19"/>
                  </a:lnTo>
                  <a:lnTo>
                    <a:pt x="312" y="33"/>
                  </a:lnTo>
                  <a:lnTo>
                    <a:pt x="319" y="47"/>
                  </a:lnTo>
                  <a:lnTo>
                    <a:pt x="321" y="65"/>
                  </a:lnTo>
                  <a:lnTo>
                    <a:pt x="319" y="82"/>
                  </a:lnTo>
                  <a:lnTo>
                    <a:pt x="312" y="96"/>
                  </a:lnTo>
                  <a:lnTo>
                    <a:pt x="302" y="110"/>
                  </a:lnTo>
                  <a:lnTo>
                    <a:pt x="290" y="119"/>
                  </a:lnTo>
                  <a:lnTo>
                    <a:pt x="274" y="126"/>
                  </a:lnTo>
                  <a:lnTo>
                    <a:pt x="257" y="128"/>
                  </a:lnTo>
                  <a:lnTo>
                    <a:pt x="64" y="128"/>
                  </a:lnTo>
                  <a:lnTo>
                    <a:pt x="48" y="126"/>
                  </a:lnTo>
                  <a:lnTo>
                    <a:pt x="32" y="119"/>
                  </a:lnTo>
                  <a:lnTo>
                    <a:pt x="19" y="110"/>
                  </a:lnTo>
                  <a:lnTo>
                    <a:pt x="9" y="96"/>
                  </a:lnTo>
                  <a:lnTo>
                    <a:pt x="3" y="82"/>
                  </a:lnTo>
                  <a:lnTo>
                    <a:pt x="0" y="65"/>
                  </a:lnTo>
                  <a:lnTo>
                    <a:pt x="3" y="47"/>
                  </a:lnTo>
                  <a:lnTo>
                    <a:pt x="9" y="33"/>
                  </a:lnTo>
                  <a:lnTo>
                    <a:pt x="19" y="19"/>
                  </a:lnTo>
                  <a:lnTo>
                    <a:pt x="32" y="10"/>
                  </a:lnTo>
                  <a:lnTo>
                    <a:pt x="48" y="4"/>
                  </a:lnTo>
                  <a:lnTo>
                    <a:pt x="6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 panose="020B0502020104020203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1" name="Freeform 103">
              <a:extLst>
                <a:ext uri="{FF2B5EF4-FFF2-40B4-BE49-F238E27FC236}">
                  <a16:creationId xmlns:a16="http://schemas.microsoft.com/office/drawing/2014/main" id="{EB7CCDC1-BD5F-4A85-7DBC-5E0A1AC80E2E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263" y="3028950"/>
              <a:ext cx="41275" cy="33338"/>
            </a:xfrm>
            <a:custGeom>
              <a:avLst/>
              <a:gdLst>
                <a:gd name="T0" fmla="*/ 230 w 294"/>
                <a:gd name="T1" fmla="*/ 0 h 222"/>
                <a:gd name="T2" fmla="*/ 247 w 294"/>
                <a:gd name="T3" fmla="*/ 2 h 222"/>
                <a:gd name="T4" fmla="*/ 262 w 294"/>
                <a:gd name="T5" fmla="*/ 8 h 222"/>
                <a:gd name="T6" fmla="*/ 275 w 294"/>
                <a:gd name="T7" fmla="*/ 18 h 222"/>
                <a:gd name="T8" fmla="*/ 286 w 294"/>
                <a:gd name="T9" fmla="*/ 31 h 222"/>
                <a:gd name="T10" fmla="*/ 292 w 294"/>
                <a:gd name="T11" fmla="*/ 47 h 222"/>
                <a:gd name="T12" fmla="*/ 294 w 294"/>
                <a:gd name="T13" fmla="*/ 63 h 222"/>
                <a:gd name="T14" fmla="*/ 292 w 294"/>
                <a:gd name="T15" fmla="*/ 80 h 222"/>
                <a:gd name="T16" fmla="*/ 286 w 294"/>
                <a:gd name="T17" fmla="*/ 95 h 222"/>
                <a:gd name="T18" fmla="*/ 276 w 294"/>
                <a:gd name="T19" fmla="*/ 108 h 222"/>
                <a:gd name="T20" fmla="*/ 263 w 294"/>
                <a:gd name="T21" fmla="*/ 118 h 222"/>
                <a:gd name="T22" fmla="*/ 96 w 294"/>
                <a:gd name="T23" fmla="*/ 213 h 222"/>
                <a:gd name="T24" fmla="*/ 80 w 294"/>
                <a:gd name="T25" fmla="*/ 220 h 222"/>
                <a:gd name="T26" fmla="*/ 64 w 294"/>
                <a:gd name="T27" fmla="*/ 222 h 222"/>
                <a:gd name="T28" fmla="*/ 48 w 294"/>
                <a:gd name="T29" fmla="*/ 220 h 222"/>
                <a:gd name="T30" fmla="*/ 32 w 294"/>
                <a:gd name="T31" fmla="*/ 214 h 222"/>
                <a:gd name="T32" fmla="*/ 19 w 294"/>
                <a:gd name="T33" fmla="*/ 204 h 222"/>
                <a:gd name="T34" fmla="*/ 8 w 294"/>
                <a:gd name="T35" fmla="*/ 190 h 222"/>
                <a:gd name="T36" fmla="*/ 2 w 294"/>
                <a:gd name="T37" fmla="*/ 175 h 222"/>
                <a:gd name="T38" fmla="*/ 0 w 294"/>
                <a:gd name="T39" fmla="*/ 158 h 222"/>
                <a:gd name="T40" fmla="*/ 2 w 294"/>
                <a:gd name="T41" fmla="*/ 142 h 222"/>
                <a:gd name="T42" fmla="*/ 8 w 294"/>
                <a:gd name="T43" fmla="*/ 127 h 222"/>
                <a:gd name="T44" fmla="*/ 19 w 294"/>
                <a:gd name="T45" fmla="*/ 114 h 222"/>
                <a:gd name="T46" fmla="*/ 31 w 294"/>
                <a:gd name="T47" fmla="*/ 103 h 222"/>
                <a:gd name="T48" fmla="*/ 198 w 294"/>
                <a:gd name="T49" fmla="*/ 8 h 222"/>
                <a:gd name="T50" fmla="*/ 215 w 294"/>
                <a:gd name="T51" fmla="*/ 2 h 222"/>
                <a:gd name="T52" fmla="*/ 230 w 294"/>
                <a:gd name="T53" fmla="*/ 0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94" h="222">
                  <a:moveTo>
                    <a:pt x="230" y="0"/>
                  </a:moveTo>
                  <a:lnTo>
                    <a:pt x="247" y="2"/>
                  </a:lnTo>
                  <a:lnTo>
                    <a:pt x="262" y="8"/>
                  </a:lnTo>
                  <a:lnTo>
                    <a:pt x="275" y="18"/>
                  </a:lnTo>
                  <a:lnTo>
                    <a:pt x="286" y="31"/>
                  </a:lnTo>
                  <a:lnTo>
                    <a:pt x="292" y="47"/>
                  </a:lnTo>
                  <a:lnTo>
                    <a:pt x="294" y="63"/>
                  </a:lnTo>
                  <a:lnTo>
                    <a:pt x="292" y="80"/>
                  </a:lnTo>
                  <a:lnTo>
                    <a:pt x="286" y="95"/>
                  </a:lnTo>
                  <a:lnTo>
                    <a:pt x="276" y="108"/>
                  </a:lnTo>
                  <a:lnTo>
                    <a:pt x="263" y="118"/>
                  </a:lnTo>
                  <a:lnTo>
                    <a:pt x="96" y="213"/>
                  </a:lnTo>
                  <a:lnTo>
                    <a:pt x="80" y="220"/>
                  </a:lnTo>
                  <a:lnTo>
                    <a:pt x="64" y="222"/>
                  </a:lnTo>
                  <a:lnTo>
                    <a:pt x="48" y="220"/>
                  </a:lnTo>
                  <a:lnTo>
                    <a:pt x="32" y="214"/>
                  </a:lnTo>
                  <a:lnTo>
                    <a:pt x="19" y="204"/>
                  </a:lnTo>
                  <a:lnTo>
                    <a:pt x="8" y="190"/>
                  </a:lnTo>
                  <a:lnTo>
                    <a:pt x="2" y="175"/>
                  </a:lnTo>
                  <a:lnTo>
                    <a:pt x="0" y="158"/>
                  </a:lnTo>
                  <a:lnTo>
                    <a:pt x="2" y="142"/>
                  </a:lnTo>
                  <a:lnTo>
                    <a:pt x="8" y="127"/>
                  </a:lnTo>
                  <a:lnTo>
                    <a:pt x="19" y="114"/>
                  </a:lnTo>
                  <a:lnTo>
                    <a:pt x="31" y="103"/>
                  </a:lnTo>
                  <a:lnTo>
                    <a:pt x="198" y="8"/>
                  </a:lnTo>
                  <a:lnTo>
                    <a:pt x="215" y="2"/>
                  </a:lnTo>
                  <a:lnTo>
                    <a:pt x="23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 panose="020B0502020104020203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2" name="Freeform 104">
              <a:extLst>
                <a:ext uri="{FF2B5EF4-FFF2-40B4-BE49-F238E27FC236}">
                  <a16:creationId xmlns:a16="http://schemas.microsoft.com/office/drawing/2014/main" id="{482DC819-5C99-D98C-3A6F-8D60A02E9BFE}"/>
                </a:ext>
              </a:extLst>
            </p:cNvPr>
            <p:cNvSpPr>
              <a:spLocks/>
            </p:cNvSpPr>
            <p:nvPr/>
          </p:nvSpPr>
          <p:spPr bwMode="auto">
            <a:xfrm>
              <a:off x="890588" y="2954338"/>
              <a:ext cx="31750" cy="41275"/>
            </a:xfrm>
            <a:custGeom>
              <a:avLst/>
              <a:gdLst>
                <a:gd name="T0" fmla="*/ 159 w 224"/>
                <a:gd name="T1" fmla="*/ 0 h 292"/>
                <a:gd name="T2" fmla="*/ 176 w 224"/>
                <a:gd name="T3" fmla="*/ 2 h 292"/>
                <a:gd name="T4" fmla="*/ 192 w 224"/>
                <a:gd name="T5" fmla="*/ 9 h 292"/>
                <a:gd name="T6" fmla="*/ 205 w 224"/>
                <a:gd name="T7" fmla="*/ 19 h 292"/>
                <a:gd name="T8" fmla="*/ 216 w 224"/>
                <a:gd name="T9" fmla="*/ 32 h 292"/>
                <a:gd name="T10" fmla="*/ 222 w 224"/>
                <a:gd name="T11" fmla="*/ 48 h 292"/>
                <a:gd name="T12" fmla="*/ 224 w 224"/>
                <a:gd name="T13" fmla="*/ 63 h 292"/>
                <a:gd name="T14" fmla="*/ 222 w 224"/>
                <a:gd name="T15" fmla="*/ 80 h 292"/>
                <a:gd name="T16" fmla="*/ 216 w 224"/>
                <a:gd name="T17" fmla="*/ 95 h 292"/>
                <a:gd name="T18" fmla="*/ 119 w 224"/>
                <a:gd name="T19" fmla="*/ 261 h 292"/>
                <a:gd name="T20" fmla="*/ 109 w 224"/>
                <a:gd name="T21" fmla="*/ 274 h 292"/>
                <a:gd name="T22" fmla="*/ 95 w 224"/>
                <a:gd name="T23" fmla="*/ 285 h 292"/>
                <a:gd name="T24" fmla="*/ 81 w 224"/>
                <a:gd name="T25" fmla="*/ 290 h 292"/>
                <a:gd name="T26" fmla="*/ 64 w 224"/>
                <a:gd name="T27" fmla="*/ 292 h 292"/>
                <a:gd name="T28" fmla="*/ 48 w 224"/>
                <a:gd name="T29" fmla="*/ 290 h 292"/>
                <a:gd name="T30" fmla="*/ 32 w 224"/>
                <a:gd name="T31" fmla="*/ 284 h 292"/>
                <a:gd name="T32" fmla="*/ 18 w 224"/>
                <a:gd name="T33" fmla="*/ 273 h 292"/>
                <a:gd name="T34" fmla="*/ 8 w 224"/>
                <a:gd name="T35" fmla="*/ 261 h 292"/>
                <a:gd name="T36" fmla="*/ 2 w 224"/>
                <a:gd name="T37" fmla="*/ 245 h 292"/>
                <a:gd name="T38" fmla="*/ 0 w 224"/>
                <a:gd name="T39" fmla="*/ 230 h 292"/>
                <a:gd name="T40" fmla="*/ 2 w 224"/>
                <a:gd name="T41" fmla="*/ 213 h 292"/>
                <a:gd name="T42" fmla="*/ 8 w 224"/>
                <a:gd name="T43" fmla="*/ 197 h 292"/>
                <a:gd name="T44" fmla="*/ 105 w 224"/>
                <a:gd name="T45" fmla="*/ 32 h 292"/>
                <a:gd name="T46" fmla="*/ 115 w 224"/>
                <a:gd name="T47" fmla="*/ 18 h 292"/>
                <a:gd name="T48" fmla="*/ 129 w 224"/>
                <a:gd name="T49" fmla="*/ 8 h 292"/>
                <a:gd name="T50" fmla="*/ 144 w 224"/>
                <a:gd name="T51" fmla="*/ 2 h 292"/>
                <a:gd name="T52" fmla="*/ 159 w 224"/>
                <a:gd name="T53" fmla="*/ 0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24" h="292">
                  <a:moveTo>
                    <a:pt x="159" y="0"/>
                  </a:moveTo>
                  <a:lnTo>
                    <a:pt x="176" y="2"/>
                  </a:lnTo>
                  <a:lnTo>
                    <a:pt x="192" y="9"/>
                  </a:lnTo>
                  <a:lnTo>
                    <a:pt x="205" y="19"/>
                  </a:lnTo>
                  <a:lnTo>
                    <a:pt x="216" y="32"/>
                  </a:lnTo>
                  <a:lnTo>
                    <a:pt x="222" y="48"/>
                  </a:lnTo>
                  <a:lnTo>
                    <a:pt x="224" y="63"/>
                  </a:lnTo>
                  <a:lnTo>
                    <a:pt x="222" y="80"/>
                  </a:lnTo>
                  <a:lnTo>
                    <a:pt x="216" y="95"/>
                  </a:lnTo>
                  <a:lnTo>
                    <a:pt x="119" y="261"/>
                  </a:lnTo>
                  <a:lnTo>
                    <a:pt x="109" y="274"/>
                  </a:lnTo>
                  <a:lnTo>
                    <a:pt x="95" y="285"/>
                  </a:lnTo>
                  <a:lnTo>
                    <a:pt x="81" y="290"/>
                  </a:lnTo>
                  <a:lnTo>
                    <a:pt x="64" y="292"/>
                  </a:lnTo>
                  <a:lnTo>
                    <a:pt x="48" y="290"/>
                  </a:lnTo>
                  <a:lnTo>
                    <a:pt x="32" y="284"/>
                  </a:lnTo>
                  <a:lnTo>
                    <a:pt x="18" y="273"/>
                  </a:lnTo>
                  <a:lnTo>
                    <a:pt x="8" y="261"/>
                  </a:lnTo>
                  <a:lnTo>
                    <a:pt x="2" y="245"/>
                  </a:lnTo>
                  <a:lnTo>
                    <a:pt x="0" y="230"/>
                  </a:lnTo>
                  <a:lnTo>
                    <a:pt x="2" y="213"/>
                  </a:lnTo>
                  <a:lnTo>
                    <a:pt x="8" y="197"/>
                  </a:lnTo>
                  <a:lnTo>
                    <a:pt x="105" y="32"/>
                  </a:lnTo>
                  <a:lnTo>
                    <a:pt x="115" y="18"/>
                  </a:lnTo>
                  <a:lnTo>
                    <a:pt x="129" y="8"/>
                  </a:lnTo>
                  <a:lnTo>
                    <a:pt x="144" y="2"/>
                  </a:lnTo>
                  <a:lnTo>
                    <a:pt x="15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 panose="020B0502020104020203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3" name="Freeform 105">
              <a:extLst>
                <a:ext uri="{FF2B5EF4-FFF2-40B4-BE49-F238E27FC236}">
                  <a16:creationId xmlns:a16="http://schemas.microsoft.com/office/drawing/2014/main" id="{9A929419-83BE-65E6-195B-E78D821E249F}"/>
                </a:ext>
              </a:extLst>
            </p:cNvPr>
            <p:cNvSpPr>
              <a:spLocks/>
            </p:cNvSpPr>
            <p:nvPr/>
          </p:nvSpPr>
          <p:spPr bwMode="auto">
            <a:xfrm>
              <a:off x="787401" y="3065463"/>
              <a:ext cx="44450" cy="142875"/>
            </a:xfrm>
            <a:custGeom>
              <a:avLst/>
              <a:gdLst>
                <a:gd name="T0" fmla="*/ 154 w 308"/>
                <a:gd name="T1" fmla="*/ 0 h 991"/>
                <a:gd name="T2" fmla="*/ 186 w 308"/>
                <a:gd name="T3" fmla="*/ 2 h 991"/>
                <a:gd name="T4" fmla="*/ 213 w 308"/>
                <a:gd name="T5" fmla="*/ 8 h 991"/>
                <a:gd name="T6" fmla="*/ 238 w 308"/>
                <a:gd name="T7" fmla="*/ 17 h 991"/>
                <a:gd name="T8" fmla="*/ 259 w 308"/>
                <a:gd name="T9" fmla="*/ 30 h 991"/>
                <a:gd name="T10" fmla="*/ 277 w 308"/>
                <a:gd name="T11" fmla="*/ 47 h 991"/>
                <a:gd name="T12" fmla="*/ 291 w 308"/>
                <a:gd name="T13" fmla="*/ 67 h 991"/>
                <a:gd name="T14" fmla="*/ 301 w 308"/>
                <a:gd name="T15" fmla="*/ 91 h 991"/>
                <a:gd name="T16" fmla="*/ 306 w 308"/>
                <a:gd name="T17" fmla="*/ 119 h 991"/>
                <a:gd name="T18" fmla="*/ 308 w 308"/>
                <a:gd name="T19" fmla="*/ 150 h 991"/>
                <a:gd name="T20" fmla="*/ 308 w 308"/>
                <a:gd name="T21" fmla="*/ 375 h 991"/>
                <a:gd name="T22" fmla="*/ 307 w 308"/>
                <a:gd name="T23" fmla="*/ 405 h 991"/>
                <a:gd name="T24" fmla="*/ 304 w 308"/>
                <a:gd name="T25" fmla="*/ 435 h 991"/>
                <a:gd name="T26" fmla="*/ 301 w 308"/>
                <a:gd name="T27" fmla="*/ 466 h 991"/>
                <a:gd name="T28" fmla="*/ 240 w 308"/>
                <a:gd name="T29" fmla="*/ 920 h 991"/>
                <a:gd name="T30" fmla="*/ 236 w 308"/>
                <a:gd name="T31" fmla="*/ 942 h 991"/>
                <a:gd name="T32" fmla="*/ 229 w 308"/>
                <a:gd name="T33" fmla="*/ 959 h 991"/>
                <a:gd name="T34" fmla="*/ 219 w 308"/>
                <a:gd name="T35" fmla="*/ 972 h 991"/>
                <a:gd name="T36" fmla="*/ 207 w 308"/>
                <a:gd name="T37" fmla="*/ 981 h 991"/>
                <a:gd name="T38" fmla="*/ 192 w 308"/>
                <a:gd name="T39" fmla="*/ 987 h 991"/>
                <a:gd name="T40" fmla="*/ 174 w 308"/>
                <a:gd name="T41" fmla="*/ 990 h 991"/>
                <a:gd name="T42" fmla="*/ 154 w 308"/>
                <a:gd name="T43" fmla="*/ 991 h 991"/>
                <a:gd name="T44" fmla="*/ 135 w 308"/>
                <a:gd name="T45" fmla="*/ 990 h 991"/>
                <a:gd name="T46" fmla="*/ 117 w 308"/>
                <a:gd name="T47" fmla="*/ 987 h 991"/>
                <a:gd name="T48" fmla="*/ 102 w 308"/>
                <a:gd name="T49" fmla="*/ 981 h 991"/>
                <a:gd name="T50" fmla="*/ 90 w 308"/>
                <a:gd name="T51" fmla="*/ 972 h 991"/>
                <a:gd name="T52" fmla="*/ 80 w 308"/>
                <a:gd name="T53" fmla="*/ 959 h 991"/>
                <a:gd name="T54" fmla="*/ 73 w 308"/>
                <a:gd name="T55" fmla="*/ 942 h 991"/>
                <a:gd name="T56" fmla="*/ 69 w 308"/>
                <a:gd name="T57" fmla="*/ 920 h 991"/>
                <a:gd name="T58" fmla="*/ 8 w 308"/>
                <a:gd name="T59" fmla="*/ 466 h 991"/>
                <a:gd name="T60" fmla="*/ 5 w 308"/>
                <a:gd name="T61" fmla="*/ 435 h 991"/>
                <a:gd name="T62" fmla="*/ 2 w 308"/>
                <a:gd name="T63" fmla="*/ 405 h 991"/>
                <a:gd name="T64" fmla="*/ 0 w 308"/>
                <a:gd name="T65" fmla="*/ 375 h 991"/>
                <a:gd name="T66" fmla="*/ 0 w 308"/>
                <a:gd name="T67" fmla="*/ 150 h 991"/>
                <a:gd name="T68" fmla="*/ 3 w 308"/>
                <a:gd name="T69" fmla="*/ 119 h 991"/>
                <a:gd name="T70" fmla="*/ 8 w 308"/>
                <a:gd name="T71" fmla="*/ 91 h 991"/>
                <a:gd name="T72" fmla="*/ 18 w 308"/>
                <a:gd name="T73" fmla="*/ 67 h 991"/>
                <a:gd name="T74" fmla="*/ 32 w 308"/>
                <a:gd name="T75" fmla="*/ 47 h 991"/>
                <a:gd name="T76" fmla="*/ 50 w 308"/>
                <a:gd name="T77" fmla="*/ 30 h 991"/>
                <a:gd name="T78" fmla="*/ 71 w 308"/>
                <a:gd name="T79" fmla="*/ 17 h 991"/>
                <a:gd name="T80" fmla="*/ 96 w 308"/>
                <a:gd name="T81" fmla="*/ 8 h 991"/>
                <a:gd name="T82" fmla="*/ 123 w 308"/>
                <a:gd name="T83" fmla="*/ 2 h 991"/>
                <a:gd name="T84" fmla="*/ 154 w 308"/>
                <a:gd name="T85" fmla="*/ 0 h 9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08" h="991">
                  <a:moveTo>
                    <a:pt x="154" y="0"/>
                  </a:moveTo>
                  <a:lnTo>
                    <a:pt x="186" y="2"/>
                  </a:lnTo>
                  <a:lnTo>
                    <a:pt x="213" y="8"/>
                  </a:lnTo>
                  <a:lnTo>
                    <a:pt x="238" y="17"/>
                  </a:lnTo>
                  <a:lnTo>
                    <a:pt x="259" y="30"/>
                  </a:lnTo>
                  <a:lnTo>
                    <a:pt x="277" y="47"/>
                  </a:lnTo>
                  <a:lnTo>
                    <a:pt x="291" y="67"/>
                  </a:lnTo>
                  <a:lnTo>
                    <a:pt x="301" y="91"/>
                  </a:lnTo>
                  <a:lnTo>
                    <a:pt x="306" y="119"/>
                  </a:lnTo>
                  <a:lnTo>
                    <a:pt x="308" y="150"/>
                  </a:lnTo>
                  <a:lnTo>
                    <a:pt x="308" y="375"/>
                  </a:lnTo>
                  <a:lnTo>
                    <a:pt x="307" y="405"/>
                  </a:lnTo>
                  <a:lnTo>
                    <a:pt x="304" y="435"/>
                  </a:lnTo>
                  <a:lnTo>
                    <a:pt x="301" y="466"/>
                  </a:lnTo>
                  <a:lnTo>
                    <a:pt x="240" y="920"/>
                  </a:lnTo>
                  <a:lnTo>
                    <a:pt x="236" y="942"/>
                  </a:lnTo>
                  <a:lnTo>
                    <a:pt x="229" y="959"/>
                  </a:lnTo>
                  <a:lnTo>
                    <a:pt x="219" y="972"/>
                  </a:lnTo>
                  <a:lnTo>
                    <a:pt x="207" y="981"/>
                  </a:lnTo>
                  <a:lnTo>
                    <a:pt x="192" y="987"/>
                  </a:lnTo>
                  <a:lnTo>
                    <a:pt x="174" y="990"/>
                  </a:lnTo>
                  <a:lnTo>
                    <a:pt x="154" y="991"/>
                  </a:lnTo>
                  <a:lnTo>
                    <a:pt x="135" y="990"/>
                  </a:lnTo>
                  <a:lnTo>
                    <a:pt x="117" y="987"/>
                  </a:lnTo>
                  <a:lnTo>
                    <a:pt x="102" y="981"/>
                  </a:lnTo>
                  <a:lnTo>
                    <a:pt x="90" y="972"/>
                  </a:lnTo>
                  <a:lnTo>
                    <a:pt x="80" y="959"/>
                  </a:lnTo>
                  <a:lnTo>
                    <a:pt x="73" y="942"/>
                  </a:lnTo>
                  <a:lnTo>
                    <a:pt x="69" y="920"/>
                  </a:lnTo>
                  <a:lnTo>
                    <a:pt x="8" y="466"/>
                  </a:lnTo>
                  <a:lnTo>
                    <a:pt x="5" y="435"/>
                  </a:lnTo>
                  <a:lnTo>
                    <a:pt x="2" y="405"/>
                  </a:lnTo>
                  <a:lnTo>
                    <a:pt x="0" y="375"/>
                  </a:lnTo>
                  <a:lnTo>
                    <a:pt x="0" y="150"/>
                  </a:lnTo>
                  <a:lnTo>
                    <a:pt x="3" y="119"/>
                  </a:lnTo>
                  <a:lnTo>
                    <a:pt x="8" y="91"/>
                  </a:lnTo>
                  <a:lnTo>
                    <a:pt x="18" y="67"/>
                  </a:lnTo>
                  <a:lnTo>
                    <a:pt x="32" y="47"/>
                  </a:lnTo>
                  <a:lnTo>
                    <a:pt x="50" y="30"/>
                  </a:lnTo>
                  <a:lnTo>
                    <a:pt x="71" y="17"/>
                  </a:lnTo>
                  <a:lnTo>
                    <a:pt x="96" y="8"/>
                  </a:lnTo>
                  <a:lnTo>
                    <a:pt x="123" y="2"/>
                  </a:lnTo>
                  <a:lnTo>
                    <a:pt x="15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 panose="020B0502020104020203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4" name="Freeform 106">
              <a:extLst>
                <a:ext uri="{FF2B5EF4-FFF2-40B4-BE49-F238E27FC236}">
                  <a16:creationId xmlns:a16="http://schemas.microsoft.com/office/drawing/2014/main" id="{F6257B56-5D9D-76C6-146D-EF46E7FD27E3}"/>
                </a:ext>
              </a:extLst>
            </p:cNvPr>
            <p:cNvSpPr>
              <a:spLocks/>
            </p:cNvSpPr>
            <p:nvPr/>
          </p:nvSpPr>
          <p:spPr bwMode="auto">
            <a:xfrm>
              <a:off x="785813" y="3225800"/>
              <a:ext cx="47625" cy="46038"/>
            </a:xfrm>
            <a:custGeom>
              <a:avLst/>
              <a:gdLst>
                <a:gd name="T0" fmla="*/ 160 w 321"/>
                <a:gd name="T1" fmla="*/ 0 h 319"/>
                <a:gd name="T2" fmla="*/ 193 w 321"/>
                <a:gd name="T3" fmla="*/ 4 h 319"/>
                <a:gd name="T4" fmla="*/ 222 w 321"/>
                <a:gd name="T5" fmla="*/ 14 h 319"/>
                <a:gd name="T6" fmla="*/ 250 w 321"/>
                <a:gd name="T7" fmla="*/ 28 h 319"/>
                <a:gd name="T8" fmla="*/ 274 w 321"/>
                <a:gd name="T9" fmla="*/ 47 h 319"/>
                <a:gd name="T10" fmla="*/ 294 w 321"/>
                <a:gd name="T11" fmla="*/ 71 h 319"/>
                <a:gd name="T12" fmla="*/ 308 w 321"/>
                <a:gd name="T13" fmla="*/ 98 h 319"/>
                <a:gd name="T14" fmla="*/ 318 w 321"/>
                <a:gd name="T15" fmla="*/ 128 h 319"/>
                <a:gd name="T16" fmla="*/ 321 w 321"/>
                <a:gd name="T17" fmla="*/ 159 h 319"/>
                <a:gd name="T18" fmla="*/ 318 w 321"/>
                <a:gd name="T19" fmla="*/ 192 h 319"/>
                <a:gd name="T20" fmla="*/ 308 w 321"/>
                <a:gd name="T21" fmla="*/ 222 h 319"/>
                <a:gd name="T22" fmla="*/ 294 w 321"/>
                <a:gd name="T23" fmla="*/ 249 h 319"/>
                <a:gd name="T24" fmla="*/ 274 w 321"/>
                <a:gd name="T25" fmla="*/ 272 h 319"/>
                <a:gd name="T26" fmla="*/ 250 w 321"/>
                <a:gd name="T27" fmla="*/ 291 h 319"/>
                <a:gd name="T28" fmla="*/ 222 w 321"/>
                <a:gd name="T29" fmla="*/ 306 h 319"/>
                <a:gd name="T30" fmla="*/ 193 w 321"/>
                <a:gd name="T31" fmla="*/ 315 h 319"/>
                <a:gd name="T32" fmla="*/ 160 w 321"/>
                <a:gd name="T33" fmla="*/ 319 h 319"/>
                <a:gd name="T34" fmla="*/ 128 w 321"/>
                <a:gd name="T35" fmla="*/ 315 h 319"/>
                <a:gd name="T36" fmla="*/ 99 w 321"/>
                <a:gd name="T37" fmla="*/ 306 h 319"/>
                <a:gd name="T38" fmla="*/ 71 w 321"/>
                <a:gd name="T39" fmla="*/ 291 h 319"/>
                <a:gd name="T40" fmla="*/ 47 w 321"/>
                <a:gd name="T41" fmla="*/ 272 h 319"/>
                <a:gd name="T42" fmla="*/ 27 w 321"/>
                <a:gd name="T43" fmla="*/ 249 h 319"/>
                <a:gd name="T44" fmla="*/ 13 w 321"/>
                <a:gd name="T45" fmla="*/ 222 h 319"/>
                <a:gd name="T46" fmla="*/ 3 w 321"/>
                <a:gd name="T47" fmla="*/ 192 h 319"/>
                <a:gd name="T48" fmla="*/ 0 w 321"/>
                <a:gd name="T49" fmla="*/ 159 h 319"/>
                <a:gd name="T50" fmla="*/ 3 w 321"/>
                <a:gd name="T51" fmla="*/ 128 h 319"/>
                <a:gd name="T52" fmla="*/ 13 w 321"/>
                <a:gd name="T53" fmla="*/ 98 h 319"/>
                <a:gd name="T54" fmla="*/ 27 w 321"/>
                <a:gd name="T55" fmla="*/ 71 h 319"/>
                <a:gd name="T56" fmla="*/ 47 w 321"/>
                <a:gd name="T57" fmla="*/ 47 h 319"/>
                <a:gd name="T58" fmla="*/ 71 w 321"/>
                <a:gd name="T59" fmla="*/ 28 h 319"/>
                <a:gd name="T60" fmla="*/ 99 w 321"/>
                <a:gd name="T61" fmla="*/ 14 h 319"/>
                <a:gd name="T62" fmla="*/ 128 w 321"/>
                <a:gd name="T63" fmla="*/ 4 h 319"/>
                <a:gd name="T64" fmla="*/ 160 w 321"/>
                <a:gd name="T65" fmla="*/ 0 h 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21" h="319">
                  <a:moveTo>
                    <a:pt x="160" y="0"/>
                  </a:moveTo>
                  <a:lnTo>
                    <a:pt x="193" y="4"/>
                  </a:lnTo>
                  <a:lnTo>
                    <a:pt x="222" y="14"/>
                  </a:lnTo>
                  <a:lnTo>
                    <a:pt x="250" y="28"/>
                  </a:lnTo>
                  <a:lnTo>
                    <a:pt x="274" y="47"/>
                  </a:lnTo>
                  <a:lnTo>
                    <a:pt x="294" y="71"/>
                  </a:lnTo>
                  <a:lnTo>
                    <a:pt x="308" y="98"/>
                  </a:lnTo>
                  <a:lnTo>
                    <a:pt x="318" y="128"/>
                  </a:lnTo>
                  <a:lnTo>
                    <a:pt x="321" y="159"/>
                  </a:lnTo>
                  <a:lnTo>
                    <a:pt x="318" y="192"/>
                  </a:lnTo>
                  <a:lnTo>
                    <a:pt x="308" y="222"/>
                  </a:lnTo>
                  <a:lnTo>
                    <a:pt x="294" y="249"/>
                  </a:lnTo>
                  <a:lnTo>
                    <a:pt x="274" y="272"/>
                  </a:lnTo>
                  <a:lnTo>
                    <a:pt x="250" y="291"/>
                  </a:lnTo>
                  <a:lnTo>
                    <a:pt x="222" y="306"/>
                  </a:lnTo>
                  <a:lnTo>
                    <a:pt x="193" y="315"/>
                  </a:lnTo>
                  <a:lnTo>
                    <a:pt x="160" y="319"/>
                  </a:lnTo>
                  <a:lnTo>
                    <a:pt x="128" y="315"/>
                  </a:lnTo>
                  <a:lnTo>
                    <a:pt x="99" y="306"/>
                  </a:lnTo>
                  <a:lnTo>
                    <a:pt x="71" y="291"/>
                  </a:lnTo>
                  <a:lnTo>
                    <a:pt x="47" y="272"/>
                  </a:lnTo>
                  <a:lnTo>
                    <a:pt x="27" y="249"/>
                  </a:lnTo>
                  <a:lnTo>
                    <a:pt x="13" y="222"/>
                  </a:lnTo>
                  <a:lnTo>
                    <a:pt x="3" y="192"/>
                  </a:lnTo>
                  <a:lnTo>
                    <a:pt x="0" y="159"/>
                  </a:lnTo>
                  <a:lnTo>
                    <a:pt x="3" y="128"/>
                  </a:lnTo>
                  <a:lnTo>
                    <a:pt x="13" y="98"/>
                  </a:lnTo>
                  <a:lnTo>
                    <a:pt x="27" y="71"/>
                  </a:lnTo>
                  <a:lnTo>
                    <a:pt x="47" y="47"/>
                  </a:lnTo>
                  <a:lnTo>
                    <a:pt x="71" y="28"/>
                  </a:lnTo>
                  <a:lnTo>
                    <a:pt x="99" y="14"/>
                  </a:lnTo>
                  <a:lnTo>
                    <a:pt x="128" y="4"/>
                  </a:lnTo>
                  <a:lnTo>
                    <a:pt x="16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 panose="020B0502020104020203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35" name="Group 134">
            <a:extLst>
              <a:ext uri="{FF2B5EF4-FFF2-40B4-BE49-F238E27FC236}">
                <a16:creationId xmlns:a16="http://schemas.microsoft.com/office/drawing/2014/main" id="{9E5C3736-0195-52F5-3DBF-1B36C5053933}"/>
              </a:ext>
            </a:extLst>
          </p:cNvPr>
          <p:cNvGrpSpPr/>
          <p:nvPr/>
        </p:nvGrpSpPr>
        <p:grpSpPr>
          <a:xfrm>
            <a:off x="8389178" y="3931832"/>
            <a:ext cx="318856" cy="350274"/>
            <a:chOff x="592138" y="2925763"/>
            <a:chExt cx="434976" cy="477838"/>
          </a:xfrm>
          <a:solidFill>
            <a:sysClr val="window" lastClr="FFFFFF"/>
          </a:solidFill>
        </p:grpSpPr>
        <p:sp>
          <p:nvSpPr>
            <p:cNvPr id="136" name="Freeform 109">
              <a:extLst>
                <a:ext uri="{FF2B5EF4-FFF2-40B4-BE49-F238E27FC236}">
                  <a16:creationId xmlns:a16="http://schemas.microsoft.com/office/drawing/2014/main" id="{9B699A3C-3F70-D093-7665-1D503490D8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3576" y="2998788"/>
              <a:ext cx="292100" cy="404813"/>
            </a:xfrm>
            <a:custGeom>
              <a:avLst/>
              <a:gdLst>
                <a:gd name="T0" fmla="*/ 750 w 2029"/>
                <a:gd name="T1" fmla="*/ 299 h 2800"/>
                <a:gd name="T2" fmla="*/ 479 w 2029"/>
                <a:gd name="T3" fmla="*/ 466 h 2800"/>
                <a:gd name="T4" fmla="*/ 304 w 2029"/>
                <a:gd name="T5" fmla="*/ 723 h 2800"/>
                <a:gd name="T6" fmla="*/ 259 w 2029"/>
                <a:gd name="T7" fmla="*/ 1034 h 2800"/>
                <a:gd name="T8" fmla="*/ 314 w 2029"/>
                <a:gd name="T9" fmla="*/ 1283 h 2800"/>
                <a:gd name="T10" fmla="*/ 414 w 2029"/>
                <a:gd name="T11" fmla="*/ 1472 h 2800"/>
                <a:gd name="T12" fmla="*/ 530 w 2029"/>
                <a:gd name="T13" fmla="*/ 1646 h 2800"/>
                <a:gd name="T14" fmla="*/ 603 w 2029"/>
                <a:gd name="T15" fmla="*/ 1843 h 2800"/>
                <a:gd name="T16" fmla="*/ 647 w 2029"/>
                <a:gd name="T17" fmla="*/ 1978 h 2800"/>
                <a:gd name="T18" fmla="*/ 1346 w 2029"/>
                <a:gd name="T19" fmla="*/ 2011 h 2800"/>
                <a:gd name="T20" fmla="*/ 1421 w 2029"/>
                <a:gd name="T21" fmla="*/ 1912 h 2800"/>
                <a:gd name="T22" fmla="*/ 1460 w 2029"/>
                <a:gd name="T23" fmla="*/ 1721 h 2800"/>
                <a:gd name="T24" fmla="*/ 1570 w 2029"/>
                <a:gd name="T25" fmla="*/ 1538 h 2800"/>
                <a:gd name="T26" fmla="*/ 1678 w 2029"/>
                <a:gd name="T27" fmla="*/ 1364 h 2800"/>
                <a:gd name="T28" fmla="*/ 1756 w 2029"/>
                <a:gd name="T29" fmla="*/ 1143 h 2800"/>
                <a:gd name="T30" fmla="*/ 1760 w 2029"/>
                <a:gd name="T31" fmla="*/ 844 h 2800"/>
                <a:gd name="T32" fmla="*/ 1634 w 2029"/>
                <a:gd name="T33" fmla="*/ 559 h 2800"/>
                <a:gd name="T34" fmla="*/ 1397 w 2029"/>
                <a:gd name="T35" fmla="*/ 352 h 2800"/>
                <a:gd name="T36" fmla="*/ 1084 w 2029"/>
                <a:gd name="T37" fmla="*/ 258 h 2800"/>
                <a:gd name="T38" fmla="*/ 1258 w 2029"/>
                <a:gd name="T39" fmla="*/ 29 h 2800"/>
                <a:gd name="T40" fmla="*/ 1613 w 2029"/>
                <a:gd name="T41" fmla="*/ 188 h 2800"/>
                <a:gd name="T42" fmla="*/ 1877 w 2029"/>
                <a:gd name="T43" fmla="*/ 461 h 2800"/>
                <a:gd name="T44" fmla="*/ 2015 w 2029"/>
                <a:gd name="T45" fmla="*/ 815 h 2800"/>
                <a:gd name="T46" fmla="*/ 2013 w 2029"/>
                <a:gd name="T47" fmla="*/ 1166 h 2800"/>
                <a:gd name="T48" fmla="*/ 1934 w 2029"/>
                <a:gd name="T49" fmla="*/ 1424 h 2800"/>
                <a:gd name="T50" fmla="*/ 1825 w 2029"/>
                <a:gd name="T51" fmla="*/ 1617 h 2800"/>
                <a:gd name="T52" fmla="*/ 1714 w 2029"/>
                <a:gd name="T53" fmla="*/ 1785 h 2800"/>
                <a:gd name="T54" fmla="*/ 1677 w 2029"/>
                <a:gd name="T55" fmla="*/ 1934 h 2800"/>
                <a:gd name="T56" fmla="*/ 1572 w 2029"/>
                <a:gd name="T57" fmla="*/ 2150 h 2800"/>
                <a:gd name="T58" fmla="*/ 1487 w 2029"/>
                <a:gd name="T59" fmla="*/ 2294 h 2800"/>
                <a:gd name="T60" fmla="*/ 1480 w 2029"/>
                <a:gd name="T61" fmla="*/ 2429 h 2800"/>
                <a:gd name="T62" fmla="*/ 1476 w 2029"/>
                <a:gd name="T63" fmla="*/ 2492 h 2800"/>
                <a:gd name="T64" fmla="*/ 1446 w 2029"/>
                <a:gd name="T65" fmla="*/ 2575 h 2800"/>
                <a:gd name="T66" fmla="*/ 1340 w 2029"/>
                <a:gd name="T67" fmla="*/ 2666 h 2800"/>
                <a:gd name="T68" fmla="*/ 1184 w 2029"/>
                <a:gd name="T69" fmla="*/ 2779 h 2800"/>
                <a:gd name="T70" fmla="*/ 891 w 2029"/>
                <a:gd name="T71" fmla="*/ 2798 h 2800"/>
                <a:gd name="T72" fmla="*/ 762 w 2029"/>
                <a:gd name="T73" fmla="*/ 2698 h 2800"/>
                <a:gd name="T74" fmla="*/ 607 w 2029"/>
                <a:gd name="T75" fmla="*/ 2606 h 2800"/>
                <a:gd name="T76" fmla="*/ 556 w 2029"/>
                <a:gd name="T77" fmla="*/ 2509 h 2800"/>
                <a:gd name="T78" fmla="*/ 551 w 2029"/>
                <a:gd name="T79" fmla="*/ 2466 h 2800"/>
                <a:gd name="T80" fmla="*/ 545 w 2029"/>
                <a:gd name="T81" fmla="*/ 2350 h 2800"/>
                <a:gd name="T82" fmla="*/ 538 w 2029"/>
                <a:gd name="T83" fmla="*/ 2221 h 2800"/>
                <a:gd name="T84" fmla="*/ 376 w 2029"/>
                <a:gd name="T85" fmla="*/ 2025 h 2800"/>
                <a:gd name="T86" fmla="*/ 340 w 2029"/>
                <a:gd name="T87" fmla="*/ 1839 h 2800"/>
                <a:gd name="T88" fmla="*/ 248 w 2029"/>
                <a:gd name="T89" fmla="*/ 1682 h 2800"/>
                <a:gd name="T90" fmla="*/ 138 w 2029"/>
                <a:gd name="T91" fmla="*/ 1508 h 2800"/>
                <a:gd name="T92" fmla="*/ 41 w 2029"/>
                <a:gd name="T93" fmla="*/ 1278 h 2800"/>
                <a:gd name="T94" fmla="*/ 0 w 2029"/>
                <a:gd name="T95" fmla="*/ 973 h 2800"/>
                <a:gd name="T96" fmla="*/ 80 w 2029"/>
                <a:gd name="T97" fmla="*/ 595 h 2800"/>
                <a:gd name="T98" fmla="*/ 298 w 2029"/>
                <a:gd name="T99" fmla="*/ 286 h 2800"/>
                <a:gd name="T100" fmla="*/ 621 w 2029"/>
                <a:gd name="T101" fmla="*/ 77 h 2800"/>
                <a:gd name="T102" fmla="*/ 1014 w 2029"/>
                <a:gd name="T103" fmla="*/ 0 h 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029" h="2800">
                  <a:moveTo>
                    <a:pt x="1014" y="255"/>
                  </a:moveTo>
                  <a:lnTo>
                    <a:pt x="945" y="258"/>
                  </a:lnTo>
                  <a:lnTo>
                    <a:pt x="878" y="266"/>
                  </a:lnTo>
                  <a:lnTo>
                    <a:pt x="813" y="281"/>
                  </a:lnTo>
                  <a:lnTo>
                    <a:pt x="750" y="299"/>
                  </a:lnTo>
                  <a:lnTo>
                    <a:pt x="690" y="324"/>
                  </a:lnTo>
                  <a:lnTo>
                    <a:pt x="632" y="354"/>
                  </a:lnTo>
                  <a:lnTo>
                    <a:pt x="578" y="387"/>
                  </a:lnTo>
                  <a:lnTo>
                    <a:pt x="527" y="424"/>
                  </a:lnTo>
                  <a:lnTo>
                    <a:pt x="479" y="466"/>
                  </a:lnTo>
                  <a:lnTo>
                    <a:pt x="435" y="511"/>
                  </a:lnTo>
                  <a:lnTo>
                    <a:pt x="396" y="559"/>
                  </a:lnTo>
                  <a:lnTo>
                    <a:pt x="361" y="611"/>
                  </a:lnTo>
                  <a:lnTo>
                    <a:pt x="330" y="666"/>
                  </a:lnTo>
                  <a:lnTo>
                    <a:pt x="304" y="723"/>
                  </a:lnTo>
                  <a:lnTo>
                    <a:pt x="284" y="783"/>
                  </a:lnTo>
                  <a:lnTo>
                    <a:pt x="270" y="844"/>
                  </a:lnTo>
                  <a:lnTo>
                    <a:pt x="260" y="908"/>
                  </a:lnTo>
                  <a:lnTo>
                    <a:pt x="257" y="973"/>
                  </a:lnTo>
                  <a:lnTo>
                    <a:pt x="259" y="1034"/>
                  </a:lnTo>
                  <a:lnTo>
                    <a:pt x="264" y="1090"/>
                  </a:lnTo>
                  <a:lnTo>
                    <a:pt x="273" y="1143"/>
                  </a:lnTo>
                  <a:lnTo>
                    <a:pt x="284" y="1193"/>
                  </a:lnTo>
                  <a:lnTo>
                    <a:pt x="298" y="1240"/>
                  </a:lnTo>
                  <a:lnTo>
                    <a:pt x="314" y="1283"/>
                  </a:lnTo>
                  <a:lnTo>
                    <a:pt x="331" y="1325"/>
                  </a:lnTo>
                  <a:lnTo>
                    <a:pt x="351" y="1364"/>
                  </a:lnTo>
                  <a:lnTo>
                    <a:pt x="371" y="1402"/>
                  </a:lnTo>
                  <a:lnTo>
                    <a:pt x="393" y="1437"/>
                  </a:lnTo>
                  <a:lnTo>
                    <a:pt x="414" y="1472"/>
                  </a:lnTo>
                  <a:lnTo>
                    <a:pt x="437" y="1505"/>
                  </a:lnTo>
                  <a:lnTo>
                    <a:pt x="458" y="1537"/>
                  </a:lnTo>
                  <a:lnTo>
                    <a:pt x="483" y="1573"/>
                  </a:lnTo>
                  <a:lnTo>
                    <a:pt x="507" y="1610"/>
                  </a:lnTo>
                  <a:lnTo>
                    <a:pt x="530" y="1646"/>
                  </a:lnTo>
                  <a:lnTo>
                    <a:pt x="551" y="1683"/>
                  </a:lnTo>
                  <a:lnTo>
                    <a:pt x="569" y="1721"/>
                  </a:lnTo>
                  <a:lnTo>
                    <a:pt x="584" y="1760"/>
                  </a:lnTo>
                  <a:lnTo>
                    <a:pt x="595" y="1800"/>
                  </a:lnTo>
                  <a:lnTo>
                    <a:pt x="603" y="1843"/>
                  </a:lnTo>
                  <a:lnTo>
                    <a:pt x="605" y="1888"/>
                  </a:lnTo>
                  <a:lnTo>
                    <a:pt x="608" y="1912"/>
                  </a:lnTo>
                  <a:lnTo>
                    <a:pt x="617" y="1936"/>
                  </a:lnTo>
                  <a:lnTo>
                    <a:pt x="630" y="1958"/>
                  </a:lnTo>
                  <a:lnTo>
                    <a:pt x="647" y="1978"/>
                  </a:lnTo>
                  <a:lnTo>
                    <a:pt x="665" y="1996"/>
                  </a:lnTo>
                  <a:lnTo>
                    <a:pt x="683" y="2011"/>
                  </a:lnTo>
                  <a:lnTo>
                    <a:pt x="701" y="2025"/>
                  </a:lnTo>
                  <a:lnTo>
                    <a:pt x="1328" y="2025"/>
                  </a:lnTo>
                  <a:lnTo>
                    <a:pt x="1346" y="2011"/>
                  </a:lnTo>
                  <a:lnTo>
                    <a:pt x="1364" y="1996"/>
                  </a:lnTo>
                  <a:lnTo>
                    <a:pt x="1383" y="1978"/>
                  </a:lnTo>
                  <a:lnTo>
                    <a:pt x="1399" y="1958"/>
                  </a:lnTo>
                  <a:lnTo>
                    <a:pt x="1412" y="1936"/>
                  </a:lnTo>
                  <a:lnTo>
                    <a:pt x="1421" y="1912"/>
                  </a:lnTo>
                  <a:lnTo>
                    <a:pt x="1424" y="1888"/>
                  </a:lnTo>
                  <a:lnTo>
                    <a:pt x="1426" y="1843"/>
                  </a:lnTo>
                  <a:lnTo>
                    <a:pt x="1434" y="1800"/>
                  </a:lnTo>
                  <a:lnTo>
                    <a:pt x="1445" y="1760"/>
                  </a:lnTo>
                  <a:lnTo>
                    <a:pt x="1460" y="1721"/>
                  </a:lnTo>
                  <a:lnTo>
                    <a:pt x="1478" y="1684"/>
                  </a:lnTo>
                  <a:lnTo>
                    <a:pt x="1498" y="1646"/>
                  </a:lnTo>
                  <a:lnTo>
                    <a:pt x="1520" y="1610"/>
                  </a:lnTo>
                  <a:lnTo>
                    <a:pt x="1545" y="1574"/>
                  </a:lnTo>
                  <a:lnTo>
                    <a:pt x="1570" y="1538"/>
                  </a:lnTo>
                  <a:lnTo>
                    <a:pt x="1592" y="1506"/>
                  </a:lnTo>
                  <a:lnTo>
                    <a:pt x="1614" y="1473"/>
                  </a:lnTo>
                  <a:lnTo>
                    <a:pt x="1636" y="1438"/>
                  </a:lnTo>
                  <a:lnTo>
                    <a:pt x="1658" y="1402"/>
                  </a:lnTo>
                  <a:lnTo>
                    <a:pt x="1678" y="1364"/>
                  </a:lnTo>
                  <a:lnTo>
                    <a:pt x="1698" y="1325"/>
                  </a:lnTo>
                  <a:lnTo>
                    <a:pt x="1715" y="1283"/>
                  </a:lnTo>
                  <a:lnTo>
                    <a:pt x="1731" y="1240"/>
                  </a:lnTo>
                  <a:lnTo>
                    <a:pt x="1745" y="1193"/>
                  </a:lnTo>
                  <a:lnTo>
                    <a:pt x="1756" y="1143"/>
                  </a:lnTo>
                  <a:lnTo>
                    <a:pt x="1765" y="1090"/>
                  </a:lnTo>
                  <a:lnTo>
                    <a:pt x="1770" y="1034"/>
                  </a:lnTo>
                  <a:lnTo>
                    <a:pt x="1772" y="973"/>
                  </a:lnTo>
                  <a:lnTo>
                    <a:pt x="1769" y="908"/>
                  </a:lnTo>
                  <a:lnTo>
                    <a:pt x="1760" y="844"/>
                  </a:lnTo>
                  <a:lnTo>
                    <a:pt x="1745" y="782"/>
                  </a:lnTo>
                  <a:lnTo>
                    <a:pt x="1725" y="723"/>
                  </a:lnTo>
                  <a:lnTo>
                    <a:pt x="1700" y="666"/>
                  </a:lnTo>
                  <a:lnTo>
                    <a:pt x="1668" y="610"/>
                  </a:lnTo>
                  <a:lnTo>
                    <a:pt x="1634" y="559"/>
                  </a:lnTo>
                  <a:lnTo>
                    <a:pt x="1594" y="511"/>
                  </a:lnTo>
                  <a:lnTo>
                    <a:pt x="1550" y="466"/>
                  </a:lnTo>
                  <a:lnTo>
                    <a:pt x="1503" y="424"/>
                  </a:lnTo>
                  <a:lnTo>
                    <a:pt x="1451" y="386"/>
                  </a:lnTo>
                  <a:lnTo>
                    <a:pt x="1397" y="352"/>
                  </a:lnTo>
                  <a:lnTo>
                    <a:pt x="1339" y="324"/>
                  </a:lnTo>
                  <a:lnTo>
                    <a:pt x="1278" y="299"/>
                  </a:lnTo>
                  <a:lnTo>
                    <a:pt x="1216" y="281"/>
                  </a:lnTo>
                  <a:lnTo>
                    <a:pt x="1151" y="266"/>
                  </a:lnTo>
                  <a:lnTo>
                    <a:pt x="1084" y="258"/>
                  </a:lnTo>
                  <a:lnTo>
                    <a:pt x="1014" y="255"/>
                  </a:lnTo>
                  <a:close/>
                  <a:moveTo>
                    <a:pt x="1014" y="0"/>
                  </a:moveTo>
                  <a:lnTo>
                    <a:pt x="1097" y="3"/>
                  </a:lnTo>
                  <a:lnTo>
                    <a:pt x="1179" y="13"/>
                  </a:lnTo>
                  <a:lnTo>
                    <a:pt x="1258" y="29"/>
                  </a:lnTo>
                  <a:lnTo>
                    <a:pt x="1335" y="50"/>
                  </a:lnTo>
                  <a:lnTo>
                    <a:pt x="1408" y="77"/>
                  </a:lnTo>
                  <a:lnTo>
                    <a:pt x="1480" y="109"/>
                  </a:lnTo>
                  <a:lnTo>
                    <a:pt x="1548" y="147"/>
                  </a:lnTo>
                  <a:lnTo>
                    <a:pt x="1613" y="188"/>
                  </a:lnTo>
                  <a:lnTo>
                    <a:pt x="1673" y="235"/>
                  </a:lnTo>
                  <a:lnTo>
                    <a:pt x="1731" y="286"/>
                  </a:lnTo>
                  <a:lnTo>
                    <a:pt x="1783" y="340"/>
                  </a:lnTo>
                  <a:lnTo>
                    <a:pt x="1833" y="399"/>
                  </a:lnTo>
                  <a:lnTo>
                    <a:pt x="1877" y="461"/>
                  </a:lnTo>
                  <a:lnTo>
                    <a:pt x="1915" y="526"/>
                  </a:lnTo>
                  <a:lnTo>
                    <a:pt x="1949" y="595"/>
                  </a:lnTo>
                  <a:lnTo>
                    <a:pt x="1976" y="667"/>
                  </a:lnTo>
                  <a:lnTo>
                    <a:pt x="1999" y="739"/>
                  </a:lnTo>
                  <a:lnTo>
                    <a:pt x="2015" y="815"/>
                  </a:lnTo>
                  <a:lnTo>
                    <a:pt x="2025" y="893"/>
                  </a:lnTo>
                  <a:lnTo>
                    <a:pt x="2029" y="973"/>
                  </a:lnTo>
                  <a:lnTo>
                    <a:pt x="2026" y="1041"/>
                  </a:lnTo>
                  <a:lnTo>
                    <a:pt x="2021" y="1105"/>
                  </a:lnTo>
                  <a:lnTo>
                    <a:pt x="2013" y="1166"/>
                  </a:lnTo>
                  <a:lnTo>
                    <a:pt x="2001" y="1224"/>
                  </a:lnTo>
                  <a:lnTo>
                    <a:pt x="1988" y="1278"/>
                  </a:lnTo>
                  <a:lnTo>
                    <a:pt x="1972" y="1329"/>
                  </a:lnTo>
                  <a:lnTo>
                    <a:pt x="1953" y="1378"/>
                  </a:lnTo>
                  <a:lnTo>
                    <a:pt x="1934" y="1424"/>
                  </a:lnTo>
                  <a:lnTo>
                    <a:pt x="1913" y="1466"/>
                  </a:lnTo>
                  <a:lnTo>
                    <a:pt x="1892" y="1507"/>
                  </a:lnTo>
                  <a:lnTo>
                    <a:pt x="1869" y="1546"/>
                  </a:lnTo>
                  <a:lnTo>
                    <a:pt x="1847" y="1583"/>
                  </a:lnTo>
                  <a:lnTo>
                    <a:pt x="1825" y="1617"/>
                  </a:lnTo>
                  <a:lnTo>
                    <a:pt x="1803" y="1649"/>
                  </a:lnTo>
                  <a:lnTo>
                    <a:pt x="1781" y="1681"/>
                  </a:lnTo>
                  <a:lnTo>
                    <a:pt x="1756" y="1719"/>
                  </a:lnTo>
                  <a:lnTo>
                    <a:pt x="1733" y="1753"/>
                  </a:lnTo>
                  <a:lnTo>
                    <a:pt x="1714" y="1785"/>
                  </a:lnTo>
                  <a:lnTo>
                    <a:pt x="1700" y="1813"/>
                  </a:lnTo>
                  <a:lnTo>
                    <a:pt x="1689" y="1839"/>
                  </a:lnTo>
                  <a:lnTo>
                    <a:pt x="1682" y="1864"/>
                  </a:lnTo>
                  <a:lnTo>
                    <a:pt x="1680" y="1888"/>
                  </a:lnTo>
                  <a:lnTo>
                    <a:pt x="1677" y="1934"/>
                  </a:lnTo>
                  <a:lnTo>
                    <a:pt x="1667" y="1980"/>
                  </a:lnTo>
                  <a:lnTo>
                    <a:pt x="1652" y="2025"/>
                  </a:lnTo>
                  <a:lnTo>
                    <a:pt x="1630" y="2068"/>
                  </a:lnTo>
                  <a:lnTo>
                    <a:pt x="1604" y="2110"/>
                  </a:lnTo>
                  <a:lnTo>
                    <a:pt x="1572" y="2150"/>
                  </a:lnTo>
                  <a:lnTo>
                    <a:pt x="1534" y="2187"/>
                  </a:lnTo>
                  <a:lnTo>
                    <a:pt x="1491" y="2221"/>
                  </a:lnTo>
                  <a:lnTo>
                    <a:pt x="1490" y="2242"/>
                  </a:lnTo>
                  <a:lnTo>
                    <a:pt x="1489" y="2267"/>
                  </a:lnTo>
                  <a:lnTo>
                    <a:pt x="1487" y="2294"/>
                  </a:lnTo>
                  <a:lnTo>
                    <a:pt x="1486" y="2322"/>
                  </a:lnTo>
                  <a:lnTo>
                    <a:pt x="1484" y="2350"/>
                  </a:lnTo>
                  <a:lnTo>
                    <a:pt x="1483" y="2378"/>
                  </a:lnTo>
                  <a:lnTo>
                    <a:pt x="1481" y="2405"/>
                  </a:lnTo>
                  <a:lnTo>
                    <a:pt x="1480" y="2429"/>
                  </a:lnTo>
                  <a:lnTo>
                    <a:pt x="1479" y="2449"/>
                  </a:lnTo>
                  <a:lnTo>
                    <a:pt x="1478" y="2466"/>
                  </a:lnTo>
                  <a:lnTo>
                    <a:pt x="1478" y="2476"/>
                  </a:lnTo>
                  <a:lnTo>
                    <a:pt x="1476" y="2479"/>
                  </a:lnTo>
                  <a:lnTo>
                    <a:pt x="1476" y="2492"/>
                  </a:lnTo>
                  <a:lnTo>
                    <a:pt x="1474" y="2506"/>
                  </a:lnTo>
                  <a:lnTo>
                    <a:pt x="1470" y="2522"/>
                  </a:lnTo>
                  <a:lnTo>
                    <a:pt x="1465" y="2539"/>
                  </a:lnTo>
                  <a:lnTo>
                    <a:pt x="1457" y="2557"/>
                  </a:lnTo>
                  <a:lnTo>
                    <a:pt x="1446" y="2575"/>
                  </a:lnTo>
                  <a:lnTo>
                    <a:pt x="1432" y="2594"/>
                  </a:lnTo>
                  <a:lnTo>
                    <a:pt x="1416" y="2613"/>
                  </a:lnTo>
                  <a:lnTo>
                    <a:pt x="1395" y="2631"/>
                  </a:lnTo>
                  <a:lnTo>
                    <a:pt x="1370" y="2650"/>
                  </a:lnTo>
                  <a:lnTo>
                    <a:pt x="1340" y="2666"/>
                  </a:lnTo>
                  <a:lnTo>
                    <a:pt x="1307" y="2683"/>
                  </a:lnTo>
                  <a:lnTo>
                    <a:pt x="1267" y="2698"/>
                  </a:lnTo>
                  <a:lnTo>
                    <a:pt x="1244" y="2727"/>
                  </a:lnTo>
                  <a:lnTo>
                    <a:pt x="1216" y="2754"/>
                  </a:lnTo>
                  <a:lnTo>
                    <a:pt x="1184" y="2779"/>
                  </a:lnTo>
                  <a:lnTo>
                    <a:pt x="1162" y="2790"/>
                  </a:lnTo>
                  <a:lnTo>
                    <a:pt x="1138" y="2798"/>
                  </a:lnTo>
                  <a:lnTo>
                    <a:pt x="1113" y="2800"/>
                  </a:lnTo>
                  <a:lnTo>
                    <a:pt x="916" y="2800"/>
                  </a:lnTo>
                  <a:lnTo>
                    <a:pt x="891" y="2798"/>
                  </a:lnTo>
                  <a:lnTo>
                    <a:pt x="867" y="2790"/>
                  </a:lnTo>
                  <a:lnTo>
                    <a:pt x="845" y="2779"/>
                  </a:lnTo>
                  <a:lnTo>
                    <a:pt x="813" y="2754"/>
                  </a:lnTo>
                  <a:lnTo>
                    <a:pt x="785" y="2727"/>
                  </a:lnTo>
                  <a:lnTo>
                    <a:pt x="762" y="2698"/>
                  </a:lnTo>
                  <a:lnTo>
                    <a:pt x="720" y="2681"/>
                  </a:lnTo>
                  <a:lnTo>
                    <a:pt x="684" y="2664"/>
                  </a:lnTo>
                  <a:lnTo>
                    <a:pt x="653" y="2646"/>
                  </a:lnTo>
                  <a:lnTo>
                    <a:pt x="628" y="2626"/>
                  </a:lnTo>
                  <a:lnTo>
                    <a:pt x="607" y="2606"/>
                  </a:lnTo>
                  <a:lnTo>
                    <a:pt x="590" y="2585"/>
                  </a:lnTo>
                  <a:lnTo>
                    <a:pt x="578" y="2566"/>
                  </a:lnTo>
                  <a:lnTo>
                    <a:pt x="567" y="2546"/>
                  </a:lnTo>
                  <a:lnTo>
                    <a:pt x="561" y="2527"/>
                  </a:lnTo>
                  <a:lnTo>
                    <a:pt x="556" y="2509"/>
                  </a:lnTo>
                  <a:lnTo>
                    <a:pt x="554" y="2494"/>
                  </a:lnTo>
                  <a:lnTo>
                    <a:pt x="552" y="2479"/>
                  </a:lnTo>
                  <a:lnTo>
                    <a:pt x="552" y="2479"/>
                  </a:lnTo>
                  <a:lnTo>
                    <a:pt x="552" y="2476"/>
                  </a:lnTo>
                  <a:lnTo>
                    <a:pt x="551" y="2466"/>
                  </a:lnTo>
                  <a:lnTo>
                    <a:pt x="550" y="2449"/>
                  </a:lnTo>
                  <a:lnTo>
                    <a:pt x="549" y="2429"/>
                  </a:lnTo>
                  <a:lnTo>
                    <a:pt x="548" y="2405"/>
                  </a:lnTo>
                  <a:lnTo>
                    <a:pt x="546" y="2378"/>
                  </a:lnTo>
                  <a:lnTo>
                    <a:pt x="545" y="2350"/>
                  </a:lnTo>
                  <a:lnTo>
                    <a:pt x="543" y="2322"/>
                  </a:lnTo>
                  <a:lnTo>
                    <a:pt x="542" y="2294"/>
                  </a:lnTo>
                  <a:lnTo>
                    <a:pt x="540" y="2267"/>
                  </a:lnTo>
                  <a:lnTo>
                    <a:pt x="539" y="2242"/>
                  </a:lnTo>
                  <a:lnTo>
                    <a:pt x="538" y="2221"/>
                  </a:lnTo>
                  <a:lnTo>
                    <a:pt x="495" y="2187"/>
                  </a:lnTo>
                  <a:lnTo>
                    <a:pt x="457" y="2150"/>
                  </a:lnTo>
                  <a:lnTo>
                    <a:pt x="425" y="2110"/>
                  </a:lnTo>
                  <a:lnTo>
                    <a:pt x="398" y="2068"/>
                  </a:lnTo>
                  <a:lnTo>
                    <a:pt x="376" y="2025"/>
                  </a:lnTo>
                  <a:lnTo>
                    <a:pt x="362" y="1980"/>
                  </a:lnTo>
                  <a:lnTo>
                    <a:pt x="352" y="1934"/>
                  </a:lnTo>
                  <a:lnTo>
                    <a:pt x="349" y="1888"/>
                  </a:lnTo>
                  <a:lnTo>
                    <a:pt x="347" y="1864"/>
                  </a:lnTo>
                  <a:lnTo>
                    <a:pt x="340" y="1839"/>
                  </a:lnTo>
                  <a:lnTo>
                    <a:pt x="329" y="1813"/>
                  </a:lnTo>
                  <a:lnTo>
                    <a:pt x="315" y="1785"/>
                  </a:lnTo>
                  <a:lnTo>
                    <a:pt x="296" y="1753"/>
                  </a:lnTo>
                  <a:lnTo>
                    <a:pt x="274" y="1719"/>
                  </a:lnTo>
                  <a:lnTo>
                    <a:pt x="248" y="1682"/>
                  </a:lnTo>
                  <a:lnTo>
                    <a:pt x="227" y="1650"/>
                  </a:lnTo>
                  <a:lnTo>
                    <a:pt x="205" y="1617"/>
                  </a:lnTo>
                  <a:lnTo>
                    <a:pt x="182" y="1583"/>
                  </a:lnTo>
                  <a:lnTo>
                    <a:pt x="160" y="1546"/>
                  </a:lnTo>
                  <a:lnTo>
                    <a:pt x="138" y="1508"/>
                  </a:lnTo>
                  <a:lnTo>
                    <a:pt x="116" y="1466"/>
                  </a:lnTo>
                  <a:lnTo>
                    <a:pt x="95" y="1424"/>
                  </a:lnTo>
                  <a:lnTo>
                    <a:pt x="76" y="1378"/>
                  </a:lnTo>
                  <a:lnTo>
                    <a:pt x="57" y="1329"/>
                  </a:lnTo>
                  <a:lnTo>
                    <a:pt x="41" y="1278"/>
                  </a:lnTo>
                  <a:lnTo>
                    <a:pt x="28" y="1224"/>
                  </a:lnTo>
                  <a:lnTo>
                    <a:pt x="16" y="1166"/>
                  </a:lnTo>
                  <a:lnTo>
                    <a:pt x="8" y="1105"/>
                  </a:lnTo>
                  <a:lnTo>
                    <a:pt x="2" y="1041"/>
                  </a:lnTo>
                  <a:lnTo>
                    <a:pt x="0" y="973"/>
                  </a:lnTo>
                  <a:lnTo>
                    <a:pt x="4" y="893"/>
                  </a:lnTo>
                  <a:lnTo>
                    <a:pt x="14" y="815"/>
                  </a:lnTo>
                  <a:lnTo>
                    <a:pt x="30" y="739"/>
                  </a:lnTo>
                  <a:lnTo>
                    <a:pt x="53" y="667"/>
                  </a:lnTo>
                  <a:lnTo>
                    <a:pt x="80" y="595"/>
                  </a:lnTo>
                  <a:lnTo>
                    <a:pt x="114" y="526"/>
                  </a:lnTo>
                  <a:lnTo>
                    <a:pt x="152" y="461"/>
                  </a:lnTo>
                  <a:lnTo>
                    <a:pt x="196" y="399"/>
                  </a:lnTo>
                  <a:lnTo>
                    <a:pt x="246" y="340"/>
                  </a:lnTo>
                  <a:lnTo>
                    <a:pt x="298" y="286"/>
                  </a:lnTo>
                  <a:lnTo>
                    <a:pt x="356" y="235"/>
                  </a:lnTo>
                  <a:lnTo>
                    <a:pt x="416" y="188"/>
                  </a:lnTo>
                  <a:lnTo>
                    <a:pt x="481" y="147"/>
                  </a:lnTo>
                  <a:lnTo>
                    <a:pt x="549" y="109"/>
                  </a:lnTo>
                  <a:lnTo>
                    <a:pt x="621" y="77"/>
                  </a:lnTo>
                  <a:lnTo>
                    <a:pt x="695" y="50"/>
                  </a:lnTo>
                  <a:lnTo>
                    <a:pt x="771" y="29"/>
                  </a:lnTo>
                  <a:lnTo>
                    <a:pt x="850" y="13"/>
                  </a:lnTo>
                  <a:lnTo>
                    <a:pt x="932" y="3"/>
                  </a:lnTo>
                  <a:lnTo>
                    <a:pt x="101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 panose="020B0502020104020203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7" name="Freeform 110">
              <a:extLst>
                <a:ext uri="{FF2B5EF4-FFF2-40B4-BE49-F238E27FC236}">
                  <a16:creationId xmlns:a16="http://schemas.microsoft.com/office/drawing/2014/main" id="{C68E3783-568D-71BC-6062-4F0C69E47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800101" y="2925763"/>
              <a:ext cx="19050" cy="46038"/>
            </a:xfrm>
            <a:custGeom>
              <a:avLst/>
              <a:gdLst>
                <a:gd name="T0" fmla="*/ 63 w 127"/>
                <a:gd name="T1" fmla="*/ 0 h 318"/>
                <a:gd name="T2" fmla="*/ 63 w 127"/>
                <a:gd name="T3" fmla="*/ 0 h 318"/>
                <a:gd name="T4" fmla="*/ 80 w 127"/>
                <a:gd name="T5" fmla="*/ 2 h 318"/>
                <a:gd name="T6" fmla="*/ 96 w 127"/>
                <a:gd name="T7" fmla="*/ 9 h 318"/>
                <a:gd name="T8" fmla="*/ 109 w 127"/>
                <a:gd name="T9" fmla="*/ 19 h 318"/>
                <a:gd name="T10" fmla="*/ 119 w 127"/>
                <a:gd name="T11" fmla="*/ 32 h 318"/>
                <a:gd name="T12" fmla="*/ 125 w 127"/>
                <a:gd name="T13" fmla="*/ 47 h 318"/>
                <a:gd name="T14" fmla="*/ 127 w 127"/>
                <a:gd name="T15" fmla="*/ 64 h 318"/>
                <a:gd name="T16" fmla="*/ 127 w 127"/>
                <a:gd name="T17" fmla="*/ 254 h 318"/>
                <a:gd name="T18" fmla="*/ 125 w 127"/>
                <a:gd name="T19" fmla="*/ 272 h 318"/>
                <a:gd name="T20" fmla="*/ 119 w 127"/>
                <a:gd name="T21" fmla="*/ 286 h 318"/>
                <a:gd name="T22" fmla="*/ 109 w 127"/>
                <a:gd name="T23" fmla="*/ 300 h 318"/>
                <a:gd name="T24" fmla="*/ 96 w 127"/>
                <a:gd name="T25" fmla="*/ 309 h 318"/>
                <a:gd name="T26" fmla="*/ 80 w 127"/>
                <a:gd name="T27" fmla="*/ 315 h 318"/>
                <a:gd name="T28" fmla="*/ 63 w 127"/>
                <a:gd name="T29" fmla="*/ 318 h 318"/>
                <a:gd name="T30" fmla="*/ 47 w 127"/>
                <a:gd name="T31" fmla="*/ 315 h 318"/>
                <a:gd name="T32" fmla="*/ 31 w 127"/>
                <a:gd name="T33" fmla="*/ 309 h 318"/>
                <a:gd name="T34" fmla="*/ 18 w 127"/>
                <a:gd name="T35" fmla="*/ 300 h 318"/>
                <a:gd name="T36" fmla="*/ 8 w 127"/>
                <a:gd name="T37" fmla="*/ 286 h 318"/>
                <a:gd name="T38" fmla="*/ 2 w 127"/>
                <a:gd name="T39" fmla="*/ 272 h 318"/>
                <a:gd name="T40" fmla="*/ 0 w 127"/>
                <a:gd name="T41" fmla="*/ 254 h 318"/>
                <a:gd name="T42" fmla="*/ 0 w 127"/>
                <a:gd name="T43" fmla="*/ 64 h 318"/>
                <a:gd name="T44" fmla="*/ 2 w 127"/>
                <a:gd name="T45" fmla="*/ 47 h 318"/>
                <a:gd name="T46" fmla="*/ 8 w 127"/>
                <a:gd name="T47" fmla="*/ 32 h 318"/>
                <a:gd name="T48" fmla="*/ 18 w 127"/>
                <a:gd name="T49" fmla="*/ 19 h 318"/>
                <a:gd name="T50" fmla="*/ 31 w 127"/>
                <a:gd name="T51" fmla="*/ 9 h 318"/>
                <a:gd name="T52" fmla="*/ 47 w 127"/>
                <a:gd name="T53" fmla="*/ 2 h 318"/>
                <a:gd name="T54" fmla="*/ 63 w 127"/>
                <a:gd name="T55" fmla="*/ 0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27" h="318">
                  <a:moveTo>
                    <a:pt x="63" y="0"/>
                  </a:moveTo>
                  <a:lnTo>
                    <a:pt x="63" y="0"/>
                  </a:lnTo>
                  <a:lnTo>
                    <a:pt x="80" y="2"/>
                  </a:lnTo>
                  <a:lnTo>
                    <a:pt x="96" y="9"/>
                  </a:lnTo>
                  <a:lnTo>
                    <a:pt x="109" y="19"/>
                  </a:lnTo>
                  <a:lnTo>
                    <a:pt x="119" y="32"/>
                  </a:lnTo>
                  <a:lnTo>
                    <a:pt x="125" y="47"/>
                  </a:lnTo>
                  <a:lnTo>
                    <a:pt x="127" y="64"/>
                  </a:lnTo>
                  <a:lnTo>
                    <a:pt x="127" y="254"/>
                  </a:lnTo>
                  <a:lnTo>
                    <a:pt x="125" y="272"/>
                  </a:lnTo>
                  <a:lnTo>
                    <a:pt x="119" y="286"/>
                  </a:lnTo>
                  <a:lnTo>
                    <a:pt x="109" y="300"/>
                  </a:lnTo>
                  <a:lnTo>
                    <a:pt x="96" y="309"/>
                  </a:lnTo>
                  <a:lnTo>
                    <a:pt x="80" y="315"/>
                  </a:lnTo>
                  <a:lnTo>
                    <a:pt x="63" y="318"/>
                  </a:lnTo>
                  <a:lnTo>
                    <a:pt x="47" y="315"/>
                  </a:lnTo>
                  <a:lnTo>
                    <a:pt x="31" y="309"/>
                  </a:lnTo>
                  <a:lnTo>
                    <a:pt x="18" y="300"/>
                  </a:lnTo>
                  <a:lnTo>
                    <a:pt x="8" y="286"/>
                  </a:lnTo>
                  <a:lnTo>
                    <a:pt x="2" y="272"/>
                  </a:lnTo>
                  <a:lnTo>
                    <a:pt x="0" y="254"/>
                  </a:lnTo>
                  <a:lnTo>
                    <a:pt x="0" y="64"/>
                  </a:lnTo>
                  <a:lnTo>
                    <a:pt x="2" y="47"/>
                  </a:lnTo>
                  <a:lnTo>
                    <a:pt x="8" y="32"/>
                  </a:lnTo>
                  <a:lnTo>
                    <a:pt x="18" y="19"/>
                  </a:lnTo>
                  <a:lnTo>
                    <a:pt x="31" y="9"/>
                  </a:lnTo>
                  <a:lnTo>
                    <a:pt x="47" y="2"/>
                  </a:lnTo>
                  <a:lnTo>
                    <a:pt x="6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 panose="020B0502020104020203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8" name="Freeform 111">
              <a:extLst>
                <a:ext uri="{FF2B5EF4-FFF2-40B4-BE49-F238E27FC236}">
                  <a16:creationId xmlns:a16="http://schemas.microsoft.com/office/drawing/2014/main" id="{E2FAF3AC-FDD0-DA68-B54B-251EBD0AA801}"/>
                </a:ext>
              </a:extLst>
            </p:cNvPr>
            <p:cNvSpPr>
              <a:spLocks/>
            </p:cNvSpPr>
            <p:nvPr/>
          </p:nvSpPr>
          <p:spPr bwMode="auto">
            <a:xfrm>
              <a:off x="696913" y="2954338"/>
              <a:ext cx="31750" cy="41275"/>
            </a:xfrm>
            <a:custGeom>
              <a:avLst/>
              <a:gdLst>
                <a:gd name="T0" fmla="*/ 64 w 224"/>
                <a:gd name="T1" fmla="*/ 0 h 293"/>
                <a:gd name="T2" fmla="*/ 80 w 224"/>
                <a:gd name="T3" fmla="*/ 2 h 293"/>
                <a:gd name="T4" fmla="*/ 95 w 224"/>
                <a:gd name="T5" fmla="*/ 8 h 293"/>
                <a:gd name="T6" fmla="*/ 109 w 224"/>
                <a:gd name="T7" fmla="*/ 18 h 293"/>
                <a:gd name="T8" fmla="*/ 119 w 224"/>
                <a:gd name="T9" fmla="*/ 32 h 293"/>
                <a:gd name="T10" fmla="*/ 216 w 224"/>
                <a:gd name="T11" fmla="*/ 197 h 293"/>
                <a:gd name="T12" fmla="*/ 222 w 224"/>
                <a:gd name="T13" fmla="*/ 213 h 293"/>
                <a:gd name="T14" fmla="*/ 224 w 224"/>
                <a:gd name="T15" fmla="*/ 230 h 293"/>
                <a:gd name="T16" fmla="*/ 222 w 224"/>
                <a:gd name="T17" fmla="*/ 245 h 293"/>
                <a:gd name="T18" fmla="*/ 216 w 224"/>
                <a:gd name="T19" fmla="*/ 261 h 293"/>
                <a:gd name="T20" fmla="*/ 206 w 224"/>
                <a:gd name="T21" fmla="*/ 274 h 293"/>
                <a:gd name="T22" fmla="*/ 193 w 224"/>
                <a:gd name="T23" fmla="*/ 285 h 293"/>
                <a:gd name="T24" fmla="*/ 177 w 224"/>
                <a:gd name="T25" fmla="*/ 291 h 293"/>
                <a:gd name="T26" fmla="*/ 160 w 224"/>
                <a:gd name="T27" fmla="*/ 293 h 293"/>
                <a:gd name="T28" fmla="*/ 143 w 224"/>
                <a:gd name="T29" fmla="*/ 291 h 293"/>
                <a:gd name="T30" fmla="*/ 129 w 224"/>
                <a:gd name="T31" fmla="*/ 285 h 293"/>
                <a:gd name="T32" fmla="*/ 115 w 224"/>
                <a:gd name="T33" fmla="*/ 274 h 293"/>
                <a:gd name="T34" fmla="*/ 105 w 224"/>
                <a:gd name="T35" fmla="*/ 261 h 293"/>
                <a:gd name="T36" fmla="*/ 8 w 224"/>
                <a:gd name="T37" fmla="*/ 95 h 293"/>
                <a:gd name="T38" fmla="*/ 2 w 224"/>
                <a:gd name="T39" fmla="*/ 80 h 293"/>
                <a:gd name="T40" fmla="*/ 0 w 224"/>
                <a:gd name="T41" fmla="*/ 63 h 293"/>
                <a:gd name="T42" fmla="*/ 2 w 224"/>
                <a:gd name="T43" fmla="*/ 48 h 293"/>
                <a:gd name="T44" fmla="*/ 8 w 224"/>
                <a:gd name="T45" fmla="*/ 32 h 293"/>
                <a:gd name="T46" fmla="*/ 19 w 224"/>
                <a:gd name="T47" fmla="*/ 19 h 293"/>
                <a:gd name="T48" fmla="*/ 31 w 224"/>
                <a:gd name="T49" fmla="*/ 9 h 293"/>
                <a:gd name="T50" fmla="*/ 48 w 224"/>
                <a:gd name="T51" fmla="*/ 2 h 293"/>
                <a:gd name="T52" fmla="*/ 64 w 224"/>
                <a:gd name="T53" fmla="*/ 0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24" h="293">
                  <a:moveTo>
                    <a:pt x="64" y="0"/>
                  </a:moveTo>
                  <a:lnTo>
                    <a:pt x="80" y="2"/>
                  </a:lnTo>
                  <a:lnTo>
                    <a:pt x="95" y="8"/>
                  </a:lnTo>
                  <a:lnTo>
                    <a:pt x="109" y="18"/>
                  </a:lnTo>
                  <a:lnTo>
                    <a:pt x="119" y="32"/>
                  </a:lnTo>
                  <a:lnTo>
                    <a:pt x="216" y="197"/>
                  </a:lnTo>
                  <a:lnTo>
                    <a:pt x="222" y="213"/>
                  </a:lnTo>
                  <a:lnTo>
                    <a:pt x="224" y="230"/>
                  </a:lnTo>
                  <a:lnTo>
                    <a:pt x="222" y="245"/>
                  </a:lnTo>
                  <a:lnTo>
                    <a:pt x="216" y="261"/>
                  </a:lnTo>
                  <a:lnTo>
                    <a:pt x="206" y="274"/>
                  </a:lnTo>
                  <a:lnTo>
                    <a:pt x="193" y="285"/>
                  </a:lnTo>
                  <a:lnTo>
                    <a:pt x="177" y="291"/>
                  </a:lnTo>
                  <a:lnTo>
                    <a:pt x="160" y="293"/>
                  </a:lnTo>
                  <a:lnTo>
                    <a:pt x="143" y="291"/>
                  </a:lnTo>
                  <a:lnTo>
                    <a:pt x="129" y="285"/>
                  </a:lnTo>
                  <a:lnTo>
                    <a:pt x="115" y="274"/>
                  </a:lnTo>
                  <a:lnTo>
                    <a:pt x="105" y="261"/>
                  </a:lnTo>
                  <a:lnTo>
                    <a:pt x="8" y="95"/>
                  </a:lnTo>
                  <a:lnTo>
                    <a:pt x="2" y="80"/>
                  </a:lnTo>
                  <a:lnTo>
                    <a:pt x="0" y="63"/>
                  </a:lnTo>
                  <a:lnTo>
                    <a:pt x="2" y="48"/>
                  </a:lnTo>
                  <a:lnTo>
                    <a:pt x="8" y="32"/>
                  </a:lnTo>
                  <a:lnTo>
                    <a:pt x="19" y="19"/>
                  </a:lnTo>
                  <a:lnTo>
                    <a:pt x="31" y="9"/>
                  </a:lnTo>
                  <a:lnTo>
                    <a:pt x="48" y="2"/>
                  </a:lnTo>
                  <a:lnTo>
                    <a:pt x="6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 panose="020B0502020104020203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9" name="Freeform 112">
              <a:extLst>
                <a:ext uri="{FF2B5EF4-FFF2-40B4-BE49-F238E27FC236}">
                  <a16:creationId xmlns:a16="http://schemas.microsoft.com/office/drawing/2014/main" id="{334C3755-901B-38B6-8397-9927A900A9C0}"/>
                </a:ext>
              </a:extLst>
            </p:cNvPr>
            <p:cNvSpPr>
              <a:spLocks/>
            </p:cNvSpPr>
            <p:nvPr/>
          </p:nvSpPr>
          <p:spPr bwMode="auto">
            <a:xfrm>
              <a:off x="620713" y="3028950"/>
              <a:ext cx="41275" cy="33338"/>
            </a:xfrm>
            <a:custGeom>
              <a:avLst/>
              <a:gdLst>
                <a:gd name="T0" fmla="*/ 64 w 294"/>
                <a:gd name="T1" fmla="*/ 0 h 222"/>
                <a:gd name="T2" fmla="*/ 79 w 294"/>
                <a:gd name="T3" fmla="*/ 2 h 222"/>
                <a:gd name="T4" fmla="*/ 96 w 294"/>
                <a:gd name="T5" fmla="*/ 8 h 222"/>
                <a:gd name="T6" fmla="*/ 263 w 294"/>
                <a:gd name="T7" fmla="*/ 103 h 222"/>
                <a:gd name="T8" fmla="*/ 276 w 294"/>
                <a:gd name="T9" fmla="*/ 114 h 222"/>
                <a:gd name="T10" fmla="*/ 286 w 294"/>
                <a:gd name="T11" fmla="*/ 127 h 222"/>
                <a:gd name="T12" fmla="*/ 292 w 294"/>
                <a:gd name="T13" fmla="*/ 142 h 222"/>
                <a:gd name="T14" fmla="*/ 294 w 294"/>
                <a:gd name="T15" fmla="*/ 158 h 222"/>
                <a:gd name="T16" fmla="*/ 292 w 294"/>
                <a:gd name="T17" fmla="*/ 175 h 222"/>
                <a:gd name="T18" fmla="*/ 286 w 294"/>
                <a:gd name="T19" fmla="*/ 190 h 222"/>
                <a:gd name="T20" fmla="*/ 275 w 294"/>
                <a:gd name="T21" fmla="*/ 204 h 222"/>
                <a:gd name="T22" fmla="*/ 262 w 294"/>
                <a:gd name="T23" fmla="*/ 214 h 222"/>
                <a:gd name="T24" fmla="*/ 246 w 294"/>
                <a:gd name="T25" fmla="*/ 220 h 222"/>
                <a:gd name="T26" fmla="*/ 230 w 294"/>
                <a:gd name="T27" fmla="*/ 222 h 222"/>
                <a:gd name="T28" fmla="*/ 213 w 294"/>
                <a:gd name="T29" fmla="*/ 220 h 222"/>
                <a:gd name="T30" fmla="*/ 198 w 294"/>
                <a:gd name="T31" fmla="*/ 213 h 222"/>
                <a:gd name="T32" fmla="*/ 31 w 294"/>
                <a:gd name="T33" fmla="*/ 118 h 222"/>
                <a:gd name="T34" fmla="*/ 18 w 294"/>
                <a:gd name="T35" fmla="*/ 108 h 222"/>
                <a:gd name="T36" fmla="*/ 8 w 294"/>
                <a:gd name="T37" fmla="*/ 95 h 222"/>
                <a:gd name="T38" fmla="*/ 2 w 294"/>
                <a:gd name="T39" fmla="*/ 80 h 222"/>
                <a:gd name="T40" fmla="*/ 0 w 294"/>
                <a:gd name="T41" fmla="*/ 63 h 222"/>
                <a:gd name="T42" fmla="*/ 2 w 294"/>
                <a:gd name="T43" fmla="*/ 47 h 222"/>
                <a:gd name="T44" fmla="*/ 8 w 294"/>
                <a:gd name="T45" fmla="*/ 31 h 222"/>
                <a:gd name="T46" fmla="*/ 19 w 294"/>
                <a:gd name="T47" fmla="*/ 18 h 222"/>
                <a:gd name="T48" fmla="*/ 32 w 294"/>
                <a:gd name="T49" fmla="*/ 8 h 222"/>
                <a:gd name="T50" fmla="*/ 47 w 294"/>
                <a:gd name="T51" fmla="*/ 2 h 222"/>
                <a:gd name="T52" fmla="*/ 64 w 294"/>
                <a:gd name="T53" fmla="*/ 0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94" h="222">
                  <a:moveTo>
                    <a:pt x="64" y="0"/>
                  </a:moveTo>
                  <a:lnTo>
                    <a:pt x="79" y="2"/>
                  </a:lnTo>
                  <a:lnTo>
                    <a:pt x="96" y="8"/>
                  </a:lnTo>
                  <a:lnTo>
                    <a:pt x="263" y="103"/>
                  </a:lnTo>
                  <a:lnTo>
                    <a:pt x="276" y="114"/>
                  </a:lnTo>
                  <a:lnTo>
                    <a:pt x="286" y="127"/>
                  </a:lnTo>
                  <a:lnTo>
                    <a:pt x="292" y="142"/>
                  </a:lnTo>
                  <a:lnTo>
                    <a:pt x="294" y="158"/>
                  </a:lnTo>
                  <a:lnTo>
                    <a:pt x="292" y="175"/>
                  </a:lnTo>
                  <a:lnTo>
                    <a:pt x="286" y="190"/>
                  </a:lnTo>
                  <a:lnTo>
                    <a:pt x="275" y="204"/>
                  </a:lnTo>
                  <a:lnTo>
                    <a:pt x="262" y="214"/>
                  </a:lnTo>
                  <a:lnTo>
                    <a:pt x="246" y="220"/>
                  </a:lnTo>
                  <a:lnTo>
                    <a:pt x="230" y="222"/>
                  </a:lnTo>
                  <a:lnTo>
                    <a:pt x="213" y="220"/>
                  </a:lnTo>
                  <a:lnTo>
                    <a:pt x="198" y="213"/>
                  </a:lnTo>
                  <a:lnTo>
                    <a:pt x="31" y="118"/>
                  </a:lnTo>
                  <a:lnTo>
                    <a:pt x="18" y="108"/>
                  </a:lnTo>
                  <a:lnTo>
                    <a:pt x="8" y="95"/>
                  </a:lnTo>
                  <a:lnTo>
                    <a:pt x="2" y="80"/>
                  </a:lnTo>
                  <a:lnTo>
                    <a:pt x="0" y="63"/>
                  </a:lnTo>
                  <a:lnTo>
                    <a:pt x="2" y="47"/>
                  </a:lnTo>
                  <a:lnTo>
                    <a:pt x="8" y="31"/>
                  </a:lnTo>
                  <a:lnTo>
                    <a:pt x="19" y="18"/>
                  </a:lnTo>
                  <a:lnTo>
                    <a:pt x="32" y="8"/>
                  </a:lnTo>
                  <a:lnTo>
                    <a:pt x="47" y="2"/>
                  </a:lnTo>
                  <a:lnTo>
                    <a:pt x="6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 panose="020B0502020104020203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0" name="Freeform 113">
              <a:extLst>
                <a:ext uri="{FF2B5EF4-FFF2-40B4-BE49-F238E27FC236}">
                  <a16:creationId xmlns:a16="http://schemas.microsoft.com/office/drawing/2014/main" id="{CB406164-6A54-2846-B38D-1389A97DD2F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138" y="3132138"/>
              <a:ext cx="46038" cy="19050"/>
            </a:xfrm>
            <a:custGeom>
              <a:avLst/>
              <a:gdLst>
                <a:gd name="T0" fmla="*/ 64 w 321"/>
                <a:gd name="T1" fmla="*/ 0 h 128"/>
                <a:gd name="T2" fmla="*/ 257 w 321"/>
                <a:gd name="T3" fmla="*/ 0 h 128"/>
                <a:gd name="T4" fmla="*/ 273 w 321"/>
                <a:gd name="T5" fmla="*/ 4 h 128"/>
                <a:gd name="T6" fmla="*/ 289 w 321"/>
                <a:gd name="T7" fmla="*/ 10 h 128"/>
                <a:gd name="T8" fmla="*/ 302 w 321"/>
                <a:gd name="T9" fmla="*/ 19 h 128"/>
                <a:gd name="T10" fmla="*/ 312 w 321"/>
                <a:gd name="T11" fmla="*/ 33 h 128"/>
                <a:gd name="T12" fmla="*/ 318 w 321"/>
                <a:gd name="T13" fmla="*/ 47 h 128"/>
                <a:gd name="T14" fmla="*/ 321 w 321"/>
                <a:gd name="T15" fmla="*/ 65 h 128"/>
                <a:gd name="T16" fmla="*/ 318 w 321"/>
                <a:gd name="T17" fmla="*/ 82 h 128"/>
                <a:gd name="T18" fmla="*/ 312 w 321"/>
                <a:gd name="T19" fmla="*/ 96 h 128"/>
                <a:gd name="T20" fmla="*/ 302 w 321"/>
                <a:gd name="T21" fmla="*/ 110 h 128"/>
                <a:gd name="T22" fmla="*/ 289 w 321"/>
                <a:gd name="T23" fmla="*/ 119 h 128"/>
                <a:gd name="T24" fmla="*/ 273 w 321"/>
                <a:gd name="T25" fmla="*/ 126 h 128"/>
                <a:gd name="T26" fmla="*/ 257 w 321"/>
                <a:gd name="T27" fmla="*/ 128 h 128"/>
                <a:gd name="T28" fmla="*/ 64 w 321"/>
                <a:gd name="T29" fmla="*/ 128 h 128"/>
                <a:gd name="T30" fmla="*/ 47 w 321"/>
                <a:gd name="T31" fmla="*/ 126 h 128"/>
                <a:gd name="T32" fmla="*/ 32 w 321"/>
                <a:gd name="T33" fmla="*/ 119 h 128"/>
                <a:gd name="T34" fmla="*/ 19 w 321"/>
                <a:gd name="T35" fmla="*/ 110 h 128"/>
                <a:gd name="T36" fmla="*/ 9 w 321"/>
                <a:gd name="T37" fmla="*/ 96 h 128"/>
                <a:gd name="T38" fmla="*/ 2 w 321"/>
                <a:gd name="T39" fmla="*/ 82 h 128"/>
                <a:gd name="T40" fmla="*/ 0 w 321"/>
                <a:gd name="T41" fmla="*/ 65 h 128"/>
                <a:gd name="T42" fmla="*/ 2 w 321"/>
                <a:gd name="T43" fmla="*/ 47 h 128"/>
                <a:gd name="T44" fmla="*/ 9 w 321"/>
                <a:gd name="T45" fmla="*/ 33 h 128"/>
                <a:gd name="T46" fmla="*/ 19 w 321"/>
                <a:gd name="T47" fmla="*/ 19 h 128"/>
                <a:gd name="T48" fmla="*/ 32 w 321"/>
                <a:gd name="T49" fmla="*/ 10 h 128"/>
                <a:gd name="T50" fmla="*/ 47 w 321"/>
                <a:gd name="T51" fmla="*/ 4 h 128"/>
                <a:gd name="T52" fmla="*/ 64 w 321"/>
                <a:gd name="T53" fmla="*/ 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21" h="128">
                  <a:moveTo>
                    <a:pt x="64" y="0"/>
                  </a:moveTo>
                  <a:lnTo>
                    <a:pt x="257" y="0"/>
                  </a:lnTo>
                  <a:lnTo>
                    <a:pt x="273" y="4"/>
                  </a:lnTo>
                  <a:lnTo>
                    <a:pt x="289" y="10"/>
                  </a:lnTo>
                  <a:lnTo>
                    <a:pt x="302" y="19"/>
                  </a:lnTo>
                  <a:lnTo>
                    <a:pt x="312" y="33"/>
                  </a:lnTo>
                  <a:lnTo>
                    <a:pt x="318" y="47"/>
                  </a:lnTo>
                  <a:lnTo>
                    <a:pt x="321" y="65"/>
                  </a:lnTo>
                  <a:lnTo>
                    <a:pt x="318" y="82"/>
                  </a:lnTo>
                  <a:lnTo>
                    <a:pt x="312" y="96"/>
                  </a:lnTo>
                  <a:lnTo>
                    <a:pt x="302" y="110"/>
                  </a:lnTo>
                  <a:lnTo>
                    <a:pt x="289" y="119"/>
                  </a:lnTo>
                  <a:lnTo>
                    <a:pt x="273" y="126"/>
                  </a:lnTo>
                  <a:lnTo>
                    <a:pt x="257" y="128"/>
                  </a:lnTo>
                  <a:lnTo>
                    <a:pt x="64" y="128"/>
                  </a:lnTo>
                  <a:lnTo>
                    <a:pt x="47" y="126"/>
                  </a:lnTo>
                  <a:lnTo>
                    <a:pt x="32" y="119"/>
                  </a:lnTo>
                  <a:lnTo>
                    <a:pt x="19" y="110"/>
                  </a:lnTo>
                  <a:lnTo>
                    <a:pt x="9" y="96"/>
                  </a:lnTo>
                  <a:lnTo>
                    <a:pt x="2" y="82"/>
                  </a:lnTo>
                  <a:lnTo>
                    <a:pt x="0" y="65"/>
                  </a:lnTo>
                  <a:lnTo>
                    <a:pt x="2" y="47"/>
                  </a:lnTo>
                  <a:lnTo>
                    <a:pt x="9" y="33"/>
                  </a:lnTo>
                  <a:lnTo>
                    <a:pt x="19" y="19"/>
                  </a:lnTo>
                  <a:lnTo>
                    <a:pt x="32" y="10"/>
                  </a:lnTo>
                  <a:lnTo>
                    <a:pt x="47" y="4"/>
                  </a:lnTo>
                  <a:lnTo>
                    <a:pt x="6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 panose="020B0502020104020203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1" name="Freeform 114">
              <a:extLst>
                <a:ext uri="{FF2B5EF4-FFF2-40B4-BE49-F238E27FC236}">
                  <a16:creationId xmlns:a16="http://schemas.microsoft.com/office/drawing/2014/main" id="{7FFECE6C-9935-D3E2-3E2C-06150C9937BD}"/>
                </a:ext>
              </a:extLst>
            </p:cNvPr>
            <p:cNvSpPr>
              <a:spLocks/>
            </p:cNvSpPr>
            <p:nvPr/>
          </p:nvSpPr>
          <p:spPr bwMode="auto">
            <a:xfrm>
              <a:off x="620713" y="3222625"/>
              <a:ext cx="41275" cy="31750"/>
            </a:xfrm>
            <a:custGeom>
              <a:avLst/>
              <a:gdLst>
                <a:gd name="T0" fmla="*/ 230 w 294"/>
                <a:gd name="T1" fmla="*/ 0 h 224"/>
                <a:gd name="T2" fmla="*/ 247 w 294"/>
                <a:gd name="T3" fmla="*/ 3 h 224"/>
                <a:gd name="T4" fmla="*/ 262 w 294"/>
                <a:gd name="T5" fmla="*/ 9 h 224"/>
                <a:gd name="T6" fmla="*/ 275 w 294"/>
                <a:gd name="T7" fmla="*/ 19 h 224"/>
                <a:gd name="T8" fmla="*/ 286 w 294"/>
                <a:gd name="T9" fmla="*/ 33 h 224"/>
                <a:gd name="T10" fmla="*/ 292 w 294"/>
                <a:gd name="T11" fmla="*/ 48 h 224"/>
                <a:gd name="T12" fmla="*/ 294 w 294"/>
                <a:gd name="T13" fmla="*/ 65 h 224"/>
                <a:gd name="T14" fmla="*/ 292 w 294"/>
                <a:gd name="T15" fmla="*/ 80 h 224"/>
                <a:gd name="T16" fmla="*/ 286 w 294"/>
                <a:gd name="T17" fmla="*/ 96 h 224"/>
                <a:gd name="T18" fmla="*/ 275 w 294"/>
                <a:gd name="T19" fmla="*/ 110 h 224"/>
                <a:gd name="T20" fmla="*/ 263 w 294"/>
                <a:gd name="T21" fmla="*/ 120 h 224"/>
                <a:gd name="T22" fmla="*/ 96 w 294"/>
                <a:gd name="T23" fmla="*/ 215 h 224"/>
                <a:gd name="T24" fmla="*/ 80 w 294"/>
                <a:gd name="T25" fmla="*/ 221 h 224"/>
                <a:gd name="T26" fmla="*/ 64 w 294"/>
                <a:gd name="T27" fmla="*/ 224 h 224"/>
                <a:gd name="T28" fmla="*/ 47 w 294"/>
                <a:gd name="T29" fmla="*/ 221 h 224"/>
                <a:gd name="T30" fmla="*/ 32 w 294"/>
                <a:gd name="T31" fmla="*/ 216 h 224"/>
                <a:gd name="T32" fmla="*/ 19 w 294"/>
                <a:gd name="T33" fmla="*/ 205 h 224"/>
                <a:gd name="T34" fmla="*/ 8 w 294"/>
                <a:gd name="T35" fmla="*/ 192 h 224"/>
                <a:gd name="T36" fmla="*/ 2 w 294"/>
                <a:gd name="T37" fmla="*/ 176 h 224"/>
                <a:gd name="T38" fmla="*/ 0 w 294"/>
                <a:gd name="T39" fmla="*/ 159 h 224"/>
                <a:gd name="T40" fmla="*/ 2 w 294"/>
                <a:gd name="T41" fmla="*/ 144 h 224"/>
                <a:gd name="T42" fmla="*/ 8 w 294"/>
                <a:gd name="T43" fmla="*/ 128 h 224"/>
                <a:gd name="T44" fmla="*/ 18 w 294"/>
                <a:gd name="T45" fmla="*/ 116 h 224"/>
                <a:gd name="T46" fmla="*/ 31 w 294"/>
                <a:gd name="T47" fmla="*/ 105 h 224"/>
                <a:gd name="T48" fmla="*/ 198 w 294"/>
                <a:gd name="T49" fmla="*/ 10 h 224"/>
                <a:gd name="T50" fmla="*/ 215 w 294"/>
                <a:gd name="T51" fmla="*/ 2 h 224"/>
                <a:gd name="T52" fmla="*/ 230 w 294"/>
                <a:gd name="T53" fmla="*/ 0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94" h="224">
                  <a:moveTo>
                    <a:pt x="230" y="0"/>
                  </a:moveTo>
                  <a:lnTo>
                    <a:pt x="247" y="3"/>
                  </a:lnTo>
                  <a:lnTo>
                    <a:pt x="262" y="9"/>
                  </a:lnTo>
                  <a:lnTo>
                    <a:pt x="275" y="19"/>
                  </a:lnTo>
                  <a:lnTo>
                    <a:pt x="286" y="33"/>
                  </a:lnTo>
                  <a:lnTo>
                    <a:pt x="292" y="48"/>
                  </a:lnTo>
                  <a:lnTo>
                    <a:pt x="294" y="65"/>
                  </a:lnTo>
                  <a:lnTo>
                    <a:pt x="292" y="80"/>
                  </a:lnTo>
                  <a:lnTo>
                    <a:pt x="286" y="96"/>
                  </a:lnTo>
                  <a:lnTo>
                    <a:pt x="275" y="110"/>
                  </a:lnTo>
                  <a:lnTo>
                    <a:pt x="263" y="120"/>
                  </a:lnTo>
                  <a:lnTo>
                    <a:pt x="96" y="215"/>
                  </a:lnTo>
                  <a:lnTo>
                    <a:pt x="80" y="221"/>
                  </a:lnTo>
                  <a:lnTo>
                    <a:pt x="64" y="224"/>
                  </a:lnTo>
                  <a:lnTo>
                    <a:pt x="47" y="221"/>
                  </a:lnTo>
                  <a:lnTo>
                    <a:pt x="32" y="216"/>
                  </a:lnTo>
                  <a:lnTo>
                    <a:pt x="19" y="205"/>
                  </a:lnTo>
                  <a:lnTo>
                    <a:pt x="8" y="192"/>
                  </a:lnTo>
                  <a:lnTo>
                    <a:pt x="2" y="176"/>
                  </a:lnTo>
                  <a:lnTo>
                    <a:pt x="0" y="159"/>
                  </a:lnTo>
                  <a:lnTo>
                    <a:pt x="2" y="144"/>
                  </a:lnTo>
                  <a:lnTo>
                    <a:pt x="8" y="128"/>
                  </a:lnTo>
                  <a:lnTo>
                    <a:pt x="18" y="116"/>
                  </a:lnTo>
                  <a:lnTo>
                    <a:pt x="31" y="105"/>
                  </a:lnTo>
                  <a:lnTo>
                    <a:pt x="198" y="10"/>
                  </a:lnTo>
                  <a:lnTo>
                    <a:pt x="215" y="2"/>
                  </a:lnTo>
                  <a:lnTo>
                    <a:pt x="23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 panose="020B0502020104020203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2" name="Freeform 115">
              <a:extLst>
                <a:ext uri="{FF2B5EF4-FFF2-40B4-BE49-F238E27FC236}">
                  <a16:creationId xmlns:a16="http://schemas.microsoft.com/office/drawing/2014/main" id="{225AF92F-2E25-651F-E847-CC660B20678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263" y="3222625"/>
              <a:ext cx="41275" cy="31750"/>
            </a:xfrm>
            <a:custGeom>
              <a:avLst/>
              <a:gdLst>
                <a:gd name="T0" fmla="*/ 64 w 294"/>
                <a:gd name="T1" fmla="*/ 0 h 224"/>
                <a:gd name="T2" fmla="*/ 80 w 294"/>
                <a:gd name="T3" fmla="*/ 2 h 224"/>
                <a:gd name="T4" fmla="*/ 96 w 294"/>
                <a:gd name="T5" fmla="*/ 10 h 224"/>
                <a:gd name="T6" fmla="*/ 263 w 294"/>
                <a:gd name="T7" fmla="*/ 105 h 224"/>
                <a:gd name="T8" fmla="*/ 276 w 294"/>
                <a:gd name="T9" fmla="*/ 116 h 224"/>
                <a:gd name="T10" fmla="*/ 286 w 294"/>
                <a:gd name="T11" fmla="*/ 128 h 224"/>
                <a:gd name="T12" fmla="*/ 292 w 294"/>
                <a:gd name="T13" fmla="*/ 144 h 224"/>
                <a:gd name="T14" fmla="*/ 294 w 294"/>
                <a:gd name="T15" fmla="*/ 159 h 224"/>
                <a:gd name="T16" fmla="*/ 292 w 294"/>
                <a:gd name="T17" fmla="*/ 176 h 224"/>
                <a:gd name="T18" fmla="*/ 286 w 294"/>
                <a:gd name="T19" fmla="*/ 192 h 224"/>
                <a:gd name="T20" fmla="*/ 275 w 294"/>
                <a:gd name="T21" fmla="*/ 205 h 224"/>
                <a:gd name="T22" fmla="*/ 262 w 294"/>
                <a:gd name="T23" fmla="*/ 216 h 224"/>
                <a:gd name="T24" fmla="*/ 247 w 294"/>
                <a:gd name="T25" fmla="*/ 221 h 224"/>
                <a:gd name="T26" fmla="*/ 230 w 294"/>
                <a:gd name="T27" fmla="*/ 224 h 224"/>
                <a:gd name="T28" fmla="*/ 214 w 294"/>
                <a:gd name="T29" fmla="*/ 221 h 224"/>
                <a:gd name="T30" fmla="*/ 198 w 294"/>
                <a:gd name="T31" fmla="*/ 215 h 224"/>
                <a:gd name="T32" fmla="*/ 31 w 294"/>
                <a:gd name="T33" fmla="*/ 120 h 224"/>
                <a:gd name="T34" fmla="*/ 19 w 294"/>
                <a:gd name="T35" fmla="*/ 110 h 224"/>
                <a:gd name="T36" fmla="*/ 8 w 294"/>
                <a:gd name="T37" fmla="*/ 96 h 224"/>
                <a:gd name="T38" fmla="*/ 2 w 294"/>
                <a:gd name="T39" fmla="*/ 80 h 224"/>
                <a:gd name="T40" fmla="*/ 0 w 294"/>
                <a:gd name="T41" fmla="*/ 65 h 224"/>
                <a:gd name="T42" fmla="*/ 2 w 294"/>
                <a:gd name="T43" fmla="*/ 48 h 224"/>
                <a:gd name="T44" fmla="*/ 8 w 294"/>
                <a:gd name="T45" fmla="*/ 33 h 224"/>
                <a:gd name="T46" fmla="*/ 19 w 294"/>
                <a:gd name="T47" fmla="*/ 19 h 224"/>
                <a:gd name="T48" fmla="*/ 32 w 294"/>
                <a:gd name="T49" fmla="*/ 9 h 224"/>
                <a:gd name="T50" fmla="*/ 47 w 294"/>
                <a:gd name="T51" fmla="*/ 3 h 224"/>
                <a:gd name="T52" fmla="*/ 64 w 294"/>
                <a:gd name="T53" fmla="*/ 0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94" h="224">
                  <a:moveTo>
                    <a:pt x="64" y="0"/>
                  </a:moveTo>
                  <a:lnTo>
                    <a:pt x="80" y="2"/>
                  </a:lnTo>
                  <a:lnTo>
                    <a:pt x="96" y="10"/>
                  </a:lnTo>
                  <a:lnTo>
                    <a:pt x="263" y="105"/>
                  </a:lnTo>
                  <a:lnTo>
                    <a:pt x="276" y="116"/>
                  </a:lnTo>
                  <a:lnTo>
                    <a:pt x="286" y="128"/>
                  </a:lnTo>
                  <a:lnTo>
                    <a:pt x="292" y="144"/>
                  </a:lnTo>
                  <a:lnTo>
                    <a:pt x="294" y="159"/>
                  </a:lnTo>
                  <a:lnTo>
                    <a:pt x="292" y="176"/>
                  </a:lnTo>
                  <a:lnTo>
                    <a:pt x="286" y="192"/>
                  </a:lnTo>
                  <a:lnTo>
                    <a:pt x="275" y="205"/>
                  </a:lnTo>
                  <a:lnTo>
                    <a:pt x="262" y="216"/>
                  </a:lnTo>
                  <a:lnTo>
                    <a:pt x="247" y="221"/>
                  </a:lnTo>
                  <a:lnTo>
                    <a:pt x="230" y="224"/>
                  </a:lnTo>
                  <a:lnTo>
                    <a:pt x="214" y="221"/>
                  </a:lnTo>
                  <a:lnTo>
                    <a:pt x="198" y="215"/>
                  </a:lnTo>
                  <a:lnTo>
                    <a:pt x="31" y="120"/>
                  </a:lnTo>
                  <a:lnTo>
                    <a:pt x="19" y="110"/>
                  </a:lnTo>
                  <a:lnTo>
                    <a:pt x="8" y="96"/>
                  </a:lnTo>
                  <a:lnTo>
                    <a:pt x="2" y="80"/>
                  </a:lnTo>
                  <a:lnTo>
                    <a:pt x="0" y="65"/>
                  </a:lnTo>
                  <a:lnTo>
                    <a:pt x="2" y="48"/>
                  </a:lnTo>
                  <a:lnTo>
                    <a:pt x="8" y="33"/>
                  </a:lnTo>
                  <a:lnTo>
                    <a:pt x="19" y="19"/>
                  </a:lnTo>
                  <a:lnTo>
                    <a:pt x="32" y="9"/>
                  </a:lnTo>
                  <a:lnTo>
                    <a:pt x="47" y="3"/>
                  </a:lnTo>
                  <a:lnTo>
                    <a:pt x="6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 panose="020B0502020104020203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3" name="Freeform 116">
              <a:extLst>
                <a:ext uri="{FF2B5EF4-FFF2-40B4-BE49-F238E27FC236}">
                  <a16:creationId xmlns:a16="http://schemas.microsoft.com/office/drawing/2014/main" id="{87BE3817-9932-3C64-F8F9-0FF59C20D853}"/>
                </a:ext>
              </a:extLst>
            </p:cNvPr>
            <p:cNvSpPr>
              <a:spLocks/>
            </p:cNvSpPr>
            <p:nvPr/>
          </p:nvSpPr>
          <p:spPr bwMode="auto">
            <a:xfrm>
              <a:off x="981076" y="3132138"/>
              <a:ext cx="46038" cy="19050"/>
            </a:xfrm>
            <a:custGeom>
              <a:avLst/>
              <a:gdLst>
                <a:gd name="T0" fmla="*/ 64 w 321"/>
                <a:gd name="T1" fmla="*/ 0 h 128"/>
                <a:gd name="T2" fmla="*/ 257 w 321"/>
                <a:gd name="T3" fmla="*/ 0 h 128"/>
                <a:gd name="T4" fmla="*/ 274 w 321"/>
                <a:gd name="T5" fmla="*/ 4 h 128"/>
                <a:gd name="T6" fmla="*/ 290 w 321"/>
                <a:gd name="T7" fmla="*/ 10 h 128"/>
                <a:gd name="T8" fmla="*/ 302 w 321"/>
                <a:gd name="T9" fmla="*/ 19 h 128"/>
                <a:gd name="T10" fmla="*/ 312 w 321"/>
                <a:gd name="T11" fmla="*/ 33 h 128"/>
                <a:gd name="T12" fmla="*/ 319 w 321"/>
                <a:gd name="T13" fmla="*/ 47 h 128"/>
                <a:gd name="T14" fmla="*/ 321 w 321"/>
                <a:gd name="T15" fmla="*/ 65 h 128"/>
                <a:gd name="T16" fmla="*/ 319 w 321"/>
                <a:gd name="T17" fmla="*/ 82 h 128"/>
                <a:gd name="T18" fmla="*/ 312 w 321"/>
                <a:gd name="T19" fmla="*/ 96 h 128"/>
                <a:gd name="T20" fmla="*/ 302 w 321"/>
                <a:gd name="T21" fmla="*/ 110 h 128"/>
                <a:gd name="T22" fmla="*/ 290 w 321"/>
                <a:gd name="T23" fmla="*/ 119 h 128"/>
                <a:gd name="T24" fmla="*/ 274 w 321"/>
                <a:gd name="T25" fmla="*/ 126 h 128"/>
                <a:gd name="T26" fmla="*/ 257 w 321"/>
                <a:gd name="T27" fmla="*/ 128 h 128"/>
                <a:gd name="T28" fmla="*/ 64 w 321"/>
                <a:gd name="T29" fmla="*/ 128 h 128"/>
                <a:gd name="T30" fmla="*/ 48 w 321"/>
                <a:gd name="T31" fmla="*/ 126 h 128"/>
                <a:gd name="T32" fmla="*/ 32 w 321"/>
                <a:gd name="T33" fmla="*/ 119 h 128"/>
                <a:gd name="T34" fmla="*/ 19 w 321"/>
                <a:gd name="T35" fmla="*/ 110 h 128"/>
                <a:gd name="T36" fmla="*/ 9 w 321"/>
                <a:gd name="T37" fmla="*/ 96 h 128"/>
                <a:gd name="T38" fmla="*/ 3 w 321"/>
                <a:gd name="T39" fmla="*/ 82 h 128"/>
                <a:gd name="T40" fmla="*/ 0 w 321"/>
                <a:gd name="T41" fmla="*/ 65 h 128"/>
                <a:gd name="T42" fmla="*/ 3 w 321"/>
                <a:gd name="T43" fmla="*/ 47 h 128"/>
                <a:gd name="T44" fmla="*/ 9 w 321"/>
                <a:gd name="T45" fmla="*/ 33 h 128"/>
                <a:gd name="T46" fmla="*/ 19 w 321"/>
                <a:gd name="T47" fmla="*/ 19 h 128"/>
                <a:gd name="T48" fmla="*/ 32 w 321"/>
                <a:gd name="T49" fmla="*/ 10 h 128"/>
                <a:gd name="T50" fmla="*/ 48 w 321"/>
                <a:gd name="T51" fmla="*/ 4 h 128"/>
                <a:gd name="T52" fmla="*/ 64 w 321"/>
                <a:gd name="T53" fmla="*/ 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21" h="128">
                  <a:moveTo>
                    <a:pt x="64" y="0"/>
                  </a:moveTo>
                  <a:lnTo>
                    <a:pt x="257" y="0"/>
                  </a:lnTo>
                  <a:lnTo>
                    <a:pt x="274" y="4"/>
                  </a:lnTo>
                  <a:lnTo>
                    <a:pt x="290" y="10"/>
                  </a:lnTo>
                  <a:lnTo>
                    <a:pt x="302" y="19"/>
                  </a:lnTo>
                  <a:lnTo>
                    <a:pt x="312" y="33"/>
                  </a:lnTo>
                  <a:lnTo>
                    <a:pt x="319" y="47"/>
                  </a:lnTo>
                  <a:lnTo>
                    <a:pt x="321" y="65"/>
                  </a:lnTo>
                  <a:lnTo>
                    <a:pt x="319" y="82"/>
                  </a:lnTo>
                  <a:lnTo>
                    <a:pt x="312" y="96"/>
                  </a:lnTo>
                  <a:lnTo>
                    <a:pt x="302" y="110"/>
                  </a:lnTo>
                  <a:lnTo>
                    <a:pt x="290" y="119"/>
                  </a:lnTo>
                  <a:lnTo>
                    <a:pt x="274" y="126"/>
                  </a:lnTo>
                  <a:lnTo>
                    <a:pt x="257" y="128"/>
                  </a:lnTo>
                  <a:lnTo>
                    <a:pt x="64" y="128"/>
                  </a:lnTo>
                  <a:lnTo>
                    <a:pt x="48" y="126"/>
                  </a:lnTo>
                  <a:lnTo>
                    <a:pt x="32" y="119"/>
                  </a:lnTo>
                  <a:lnTo>
                    <a:pt x="19" y="110"/>
                  </a:lnTo>
                  <a:lnTo>
                    <a:pt x="9" y="96"/>
                  </a:lnTo>
                  <a:lnTo>
                    <a:pt x="3" y="82"/>
                  </a:lnTo>
                  <a:lnTo>
                    <a:pt x="0" y="65"/>
                  </a:lnTo>
                  <a:lnTo>
                    <a:pt x="3" y="47"/>
                  </a:lnTo>
                  <a:lnTo>
                    <a:pt x="9" y="33"/>
                  </a:lnTo>
                  <a:lnTo>
                    <a:pt x="19" y="19"/>
                  </a:lnTo>
                  <a:lnTo>
                    <a:pt x="32" y="10"/>
                  </a:lnTo>
                  <a:lnTo>
                    <a:pt x="48" y="4"/>
                  </a:lnTo>
                  <a:lnTo>
                    <a:pt x="6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 panose="020B0502020104020203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4" name="Freeform 117">
              <a:extLst>
                <a:ext uri="{FF2B5EF4-FFF2-40B4-BE49-F238E27FC236}">
                  <a16:creationId xmlns:a16="http://schemas.microsoft.com/office/drawing/2014/main" id="{9AA3DBD5-8354-2BCC-6648-401D638967DF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263" y="3028950"/>
              <a:ext cx="41275" cy="33338"/>
            </a:xfrm>
            <a:custGeom>
              <a:avLst/>
              <a:gdLst>
                <a:gd name="T0" fmla="*/ 230 w 294"/>
                <a:gd name="T1" fmla="*/ 0 h 222"/>
                <a:gd name="T2" fmla="*/ 247 w 294"/>
                <a:gd name="T3" fmla="*/ 2 h 222"/>
                <a:gd name="T4" fmla="*/ 262 w 294"/>
                <a:gd name="T5" fmla="*/ 8 h 222"/>
                <a:gd name="T6" fmla="*/ 275 w 294"/>
                <a:gd name="T7" fmla="*/ 18 h 222"/>
                <a:gd name="T8" fmla="*/ 286 w 294"/>
                <a:gd name="T9" fmla="*/ 31 h 222"/>
                <a:gd name="T10" fmla="*/ 292 w 294"/>
                <a:gd name="T11" fmla="*/ 47 h 222"/>
                <a:gd name="T12" fmla="*/ 294 w 294"/>
                <a:gd name="T13" fmla="*/ 63 h 222"/>
                <a:gd name="T14" fmla="*/ 292 w 294"/>
                <a:gd name="T15" fmla="*/ 80 h 222"/>
                <a:gd name="T16" fmla="*/ 286 w 294"/>
                <a:gd name="T17" fmla="*/ 95 h 222"/>
                <a:gd name="T18" fmla="*/ 276 w 294"/>
                <a:gd name="T19" fmla="*/ 108 h 222"/>
                <a:gd name="T20" fmla="*/ 263 w 294"/>
                <a:gd name="T21" fmla="*/ 118 h 222"/>
                <a:gd name="T22" fmla="*/ 96 w 294"/>
                <a:gd name="T23" fmla="*/ 213 h 222"/>
                <a:gd name="T24" fmla="*/ 80 w 294"/>
                <a:gd name="T25" fmla="*/ 220 h 222"/>
                <a:gd name="T26" fmla="*/ 64 w 294"/>
                <a:gd name="T27" fmla="*/ 222 h 222"/>
                <a:gd name="T28" fmla="*/ 48 w 294"/>
                <a:gd name="T29" fmla="*/ 220 h 222"/>
                <a:gd name="T30" fmla="*/ 32 w 294"/>
                <a:gd name="T31" fmla="*/ 214 h 222"/>
                <a:gd name="T32" fmla="*/ 19 w 294"/>
                <a:gd name="T33" fmla="*/ 204 h 222"/>
                <a:gd name="T34" fmla="*/ 8 w 294"/>
                <a:gd name="T35" fmla="*/ 190 h 222"/>
                <a:gd name="T36" fmla="*/ 2 w 294"/>
                <a:gd name="T37" fmla="*/ 175 h 222"/>
                <a:gd name="T38" fmla="*/ 0 w 294"/>
                <a:gd name="T39" fmla="*/ 158 h 222"/>
                <a:gd name="T40" fmla="*/ 2 w 294"/>
                <a:gd name="T41" fmla="*/ 142 h 222"/>
                <a:gd name="T42" fmla="*/ 8 w 294"/>
                <a:gd name="T43" fmla="*/ 127 h 222"/>
                <a:gd name="T44" fmla="*/ 19 w 294"/>
                <a:gd name="T45" fmla="*/ 114 h 222"/>
                <a:gd name="T46" fmla="*/ 31 w 294"/>
                <a:gd name="T47" fmla="*/ 103 h 222"/>
                <a:gd name="T48" fmla="*/ 198 w 294"/>
                <a:gd name="T49" fmla="*/ 8 h 222"/>
                <a:gd name="T50" fmla="*/ 215 w 294"/>
                <a:gd name="T51" fmla="*/ 2 h 222"/>
                <a:gd name="T52" fmla="*/ 230 w 294"/>
                <a:gd name="T53" fmla="*/ 0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94" h="222">
                  <a:moveTo>
                    <a:pt x="230" y="0"/>
                  </a:moveTo>
                  <a:lnTo>
                    <a:pt x="247" y="2"/>
                  </a:lnTo>
                  <a:lnTo>
                    <a:pt x="262" y="8"/>
                  </a:lnTo>
                  <a:lnTo>
                    <a:pt x="275" y="18"/>
                  </a:lnTo>
                  <a:lnTo>
                    <a:pt x="286" y="31"/>
                  </a:lnTo>
                  <a:lnTo>
                    <a:pt x="292" y="47"/>
                  </a:lnTo>
                  <a:lnTo>
                    <a:pt x="294" y="63"/>
                  </a:lnTo>
                  <a:lnTo>
                    <a:pt x="292" y="80"/>
                  </a:lnTo>
                  <a:lnTo>
                    <a:pt x="286" y="95"/>
                  </a:lnTo>
                  <a:lnTo>
                    <a:pt x="276" y="108"/>
                  </a:lnTo>
                  <a:lnTo>
                    <a:pt x="263" y="118"/>
                  </a:lnTo>
                  <a:lnTo>
                    <a:pt x="96" y="213"/>
                  </a:lnTo>
                  <a:lnTo>
                    <a:pt x="80" y="220"/>
                  </a:lnTo>
                  <a:lnTo>
                    <a:pt x="64" y="222"/>
                  </a:lnTo>
                  <a:lnTo>
                    <a:pt x="48" y="220"/>
                  </a:lnTo>
                  <a:lnTo>
                    <a:pt x="32" y="214"/>
                  </a:lnTo>
                  <a:lnTo>
                    <a:pt x="19" y="204"/>
                  </a:lnTo>
                  <a:lnTo>
                    <a:pt x="8" y="190"/>
                  </a:lnTo>
                  <a:lnTo>
                    <a:pt x="2" y="175"/>
                  </a:lnTo>
                  <a:lnTo>
                    <a:pt x="0" y="158"/>
                  </a:lnTo>
                  <a:lnTo>
                    <a:pt x="2" y="142"/>
                  </a:lnTo>
                  <a:lnTo>
                    <a:pt x="8" y="127"/>
                  </a:lnTo>
                  <a:lnTo>
                    <a:pt x="19" y="114"/>
                  </a:lnTo>
                  <a:lnTo>
                    <a:pt x="31" y="103"/>
                  </a:lnTo>
                  <a:lnTo>
                    <a:pt x="198" y="8"/>
                  </a:lnTo>
                  <a:lnTo>
                    <a:pt x="215" y="2"/>
                  </a:lnTo>
                  <a:lnTo>
                    <a:pt x="23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 panose="020B0502020104020203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5" name="Freeform 118">
              <a:extLst>
                <a:ext uri="{FF2B5EF4-FFF2-40B4-BE49-F238E27FC236}">
                  <a16:creationId xmlns:a16="http://schemas.microsoft.com/office/drawing/2014/main" id="{F43D7FD1-AA70-FB3A-DBB6-BB78E11F7CCF}"/>
                </a:ext>
              </a:extLst>
            </p:cNvPr>
            <p:cNvSpPr>
              <a:spLocks/>
            </p:cNvSpPr>
            <p:nvPr/>
          </p:nvSpPr>
          <p:spPr bwMode="auto">
            <a:xfrm>
              <a:off x="890588" y="2954338"/>
              <a:ext cx="31750" cy="41275"/>
            </a:xfrm>
            <a:custGeom>
              <a:avLst/>
              <a:gdLst>
                <a:gd name="T0" fmla="*/ 159 w 224"/>
                <a:gd name="T1" fmla="*/ 0 h 292"/>
                <a:gd name="T2" fmla="*/ 176 w 224"/>
                <a:gd name="T3" fmla="*/ 2 h 292"/>
                <a:gd name="T4" fmla="*/ 192 w 224"/>
                <a:gd name="T5" fmla="*/ 9 h 292"/>
                <a:gd name="T6" fmla="*/ 205 w 224"/>
                <a:gd name="T7" fmla="*/ 19 h 292"/>
                <a:gd name="T8" fmla="*/ 216 w 224"/>
                <a:gd name="T9" fmla="*/ 32 h 292"/>
                <a:gd name="T10" fmla="*/ 222 w 224"/>
                <a:gd name="T11" fmla="*/ 48 h 292"/>
                <a:gd name="T12" fmla="*/ 224 w 224"/>
                <a:gd name="T13" fmla="*/ 63 h 292"/>
                <a:gd name="T14" fmla="*/ 222 w 224"/>
                <a:gd name="T15" fmla="*/ 80 h 292"/>
                <a:gd name="T16" fmla="*/ 216 w 224"/>
                <a:gd name="T17" fmla="*/ 95 h 292"/>
                <a:gd name="T18" fmla="*/ 119 w 224"/>
                <a:gd name="T19" fmla="*/ 261 h 292"/>
                <a:gd name="T20" fmla="*/ 109 w 224"/>
                <a:gd name="T21" fmla="*/ 274 h 292"/>
                <a:gd name="T22" fmla="*/ 95 w 224"/>
                <a:gd name="T23" fmla="*/ 285 h 292"/>
                <a:gd name="T24" fmla="*/ 81 w 224"/>
                <a:gd name="T25" fmla="*/ 290 h 292"/>
                <a:gd name="T26" fmla="*/ 64 w 224"/>
                <a:gd name="T27" fmla="*/ 292 h 292"/>
                <a:gd name="T28" fmla="*/ 48 w 224"/>
                <a:gd name="T29" fmla="*/ 290 h 292"/>
                <a:gd name="T30" fmla="*/ 32 w 224"/>
                <a:gd name="T31" fmla="*/ 284 h 292"/>
                <a:gd name="T32" fmla="*/ 18 w 224"/>
                <a:gd name="T33" fmla="*/ 273 h 292"/>
                <a:gd name="T34" fmla="*/ 8 w 224"/>
                <a:gd name="T35" fmla="*/ 261 h 292"/>
                <a:gd name="T36" fmla="*/ 2 w 224"/>
                <a:gd name="T37" fmla="*/ 245 h 292"/>
                <a:gd name="T38" fmla="*/ 0 w 224"/>
                <a:gd name="T39" fmla="*/ 230 h 292"/>
                <a:gd name="T40" fmla="*/ 2 w 224"/>
                <a:gd name="T41" fmla="*/ 213 h 292"/>
                <a:gd name="T42" fmla="*/ 8 w 224"/>
                <a:gd name="T43" fmla="*/ 197 h 292"/>
                <a:gd name="T44" fmla="*/ 105 w 224"/>
                <a:gd name="T45" fmla="*/ 32 h 292"/>
                <a:gd name="T46" fmla="*/ 115 w 224"/>
                <a:gd name="T47" fmla="*/ 18 h 292"/>
                <a:gd name="T48" fmla="*/ 129 w 224"/>
                <a:gd name="T49" fmla="*/ 8 h 292"/>
                <a:gd name="T50" fmla="*/ 144 w 224"/>
                <a:gd name="T51" fmla="*/ 2 h 292"/>
                <a:gd name="T52" fmla="*/ 159 w 224"/>
                <a:gd name="T53" fmla="*/ 0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24" h="292">
                  <a:moveTo>
                    <a:pt x="159" y="0"/>
                  </a:moveTo>
                  <a:lnTo>
                    <a:pt x="176" y="2"/>
                  </a:lnTo>
                  <a:lnTo>
                    <a:pt x="192" y="9"/>
                  </a:lnTo>
                  <a:lnTo>
                    <a:pt x="205" y="19"/>
                  </a:lnTo>
                  <a:lnTo>
                    <a:pt x="216" y="32"/>
                  </a:lnTo>
                  <a:lnTo>
                    <a:pt x="222" y="48"/>
                  </a:lnTo>
                  <a:lnTo>
                    <a:pt x="224" y="63"/>
                  </a:lnTo>
                  <a:lnTo>
                    <a:pt x="222" y="80"/>
                  </a:lnTo>
                  <a:lnTo>
                    <a:pt x="216" y="95"/>
                  </a:lnTo>
                  <a:lnTo>
                    <a:pt x="119" y="261"/>
                  </a:lnTo>
                  <a:lnTo>
                    <a:pt x="109" y="274"/>
                  </a:lnTo>
                  <a:lnTo>
                    <a:pt x="95" y="285"/>
                  </a:lnTo>
                  <a:lnTo>
                    <a:pt x="81" y="290"/>
                  </a:lnTo>
                  <a:lnTo>
                    <a:pt x="64" y="292"/>
                  </a:lnTo>
                  <a:lnTo>
                    <a:pt x="48" y="290"/>
                  </a:lnTo>
                  <a:lnTo>
                    <a:pt x="32" y="284"/>
                  </a:lnTo>
                  <a:lnTo>
                    <a:pt x="18" y="273"/>
                  </a:lnTo>
                  <a:lnTo>
                    <a:pt x="8" y="261"/>
                  </a:lnTo>
                  <a:lnTo>
                    <a:pt x="2" y="245"/>
                  </a:lnTo>
                  <a:lnTo>
                    <a:pt x="0" y="230"/>
                  </a:lnTo>
                  <a:lnTo>
                    <a:pt x="2" y="213"/>
                  </a:lnTo>
                  <a:lnTo>
                    <a:pt x="8" y="197"/>
                  </a:lnTo>
                  <a:lnTo>
                    <a:pt x="105" y="32"/>
                  </a:lnTo>
                  <a:lnTo>
                    <a:pt x="115" y="18"/>
                  </a:lnTo>
                  <a:lnTo>
                    <a:pt x="129" y="8"/>
                  </a:lnTo>
                  <a:lnTo>
                    <a:pt x="144" y="2"/>
                  </a:lnTo>
                  <a:lnTo>
                    <a:pt x="15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 panose="020B0502020104020203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6" name="Freeform 119">
              <a:extLst>
                <a:ext uri="{FF2B5EF4-FFF2-40B4-BE49-F238E27FC236}">
                  <a16:creationId xmlns:a16="http://schemas.microsoft.com/office/drawing/2014/main" id="{F775DC39-8DD4-B208-4DD9-2F818B15A4AB}"/>
                </a:ext>
              </a:extLst>
            </p:cNvPr>
            <p:cNvSpPr>
              <a:spLocks/>
            </p:cNvSpPr>
            <p:nvPr/>
          </p:nvSpPr>
          <p:spPr bwMode="auto">
            <a:xfrm>
              <a:off x="787401" y="3065463"/>
              <a:ext cx="44450" cy="142875"/>
            </a:xfrm>
            <a:custGeom>
              <a:avLst/>
              <a:gdLst>
                <a:gd name="T0" fmla="*/ 154 w 308"/>
                <a:gd name="T1" fmla="*/ 0 h 991"/>
                <a:gd name="T2" fmla="*/ 186 w 308"/>
                <a:gd name="T3" fmla="*/ 2 h 991"/>
                <a:gd name="T4" fmla="*/ 213 w 308"/>
                <a:gd name="T5" fmla="*/ 8 h 991"/>
                <a:gd name="T6" fmla="*/ 238 w 308"/>
                <a:gd name="T7" fmla="*/ 17 h 991"/>
                <a:gd name="T8" fmla="*/ 259 w 308"/>
                <a:gd name="T9" fmla="*/ 30 h 991"/>
                <a:gd name="T10" fmla="*/ 277 w 308"/>
                <a:gd name="T11" fmla="*/ 47 h 991"/>
                <a:gd name="T12" fmla="*/ 291 w 308"/>
                <a:gd name="T13" fmla="*/ 67 h 991"/>
                <a:gd name="T14" fmla="*/ 301 w 308"/>
                <a:gd name="T15" fmla="*/ 91 h 991"/>
                <a:gd name="T16" fmla="*/ 306 w 308"/>
                <a:gd name="T17" fmla="*/ 119 h 991"/>
                <a:gd name="T18" fmla="*/ 308 w 308"/>
                <a:gd name="T19" fmla="*/ 150 h 991"/>
                <a:gd name="T20" fmla="*/ 308 w 308"/>
                <a:gd name="T21" fmla="*/ 375 h 991"/>
                <a:gd name="T22" fmla="*/ 307 w 308"/>
                <a:gd name="T23" fmla="*/ 405 h 991"/>
                <a:gd name="T24" fmla="*/ 304 w 308"/>
                <a:gd name="T25" fmla="*/ 435 h 991"/>
                <a:gd name="T26" fmla="*/ 301 w 308"/>
                <a:gd name="T27" fmla="*/ 466 h 991"/>
                <a:gd name="T28" fmla="*/ 240 w 308"/>
                <a:gd name="T29" fmla="*/ 920 h 991"/>
                <a:gd name="T30" fmla="*/ 236 w 308"/>
                <a:gd name="T31" fmla="*/ 942 h 991"/>
                <a:gd name="T32" fmla="*/ 229 w 308"/>
                <a:gd name="T33" fmla="*/ 959 h 991"/>
                <a:gd name="T34" fmla="*/ 219 w 308"/>
                <a:gd name="T35" fmla="*/ 972 h 991"/>
                <a:gd name="T36" fmla="*/ 207 w 308"/>
                <a:gd name="T37" fmla="*/ 981 h 991"/>
                <a:gd name="T38" fmla="*/ 192 w 308"/>
                <a:gd name="T39" fmla="*/ 987 h 991"/>
                <a:gd name="T40" fmla="*/ 174 w 308"/>
                <a:gd name="T41" fmla="*/ 990 h 991"/>
                <a:gd name="T42" fmla="*/ 154 w 308"/>
                <a:gd name="T43" fmla="*/ 991 h 991"/>
                <a:gd name="T44" fmla="*/ 135 w 308"/>
                <a:gd name="T45" fmla="*/ 990 h 991"/>
                <a:gd name="T46" fmla="*/ 117 w 308"/>
                <a:gd name="T47" fmla="*/ 987 h 991"/>
                <a:gd name="T48" fmla="*/ 102 w 308"/>
                <a:gd name="T49" fmla="*/ 981 h 991"/>
                <a:gd name="T50" fmla="*/ 90 w 308"/>
                <a:gd name="T51" fmla="*/ 972 h 991"/>
                <a:gd name="T52" fmla="*/ 80 w 308"/>
                <a:gd name="T53" fmla="*/ 959 h 991"/>
                <a:gd name="T54" fmla="*/ 73 w 308"/>
                <a:gd name="T55" fmla="*/ 942 h 991"/>
                <a:gd name="T56" fmla="*/ 69 w 308"/>
                <a:gd name="T57" fmla="*/ 920 h 991"/>
                <a:gd name="T58" fmla="*/ 8 w 308"/>
                <a:gd name="T59" fmla="*/ 466 h 991"/>
                <a:gd name="T60" fmla="*/ 5 w 308"/>
                <a:gd name="T61" fmla="*/ 435 h 991"/>
                <a:gd name="T62" fmla="*/ 2 w 308"/>
                <a:gd name="T63" fmla="*/ 405 h 991"/>
                <a:gd name="T64" fmla="*/ 0 w 308"/>
                <a:gd name="T65" fmla="*/ 375 h 991"/>
                <a:gd name="T66" fmla="*/ 0 w 308"/>
                <a:gd name="T67" fmla="*/ 150 h 991"/>
                <a:gd name="T68" fmla="*/ 3 w 308"/>
                <a:gd name="T69" fmla="*/ 119 h 991"/>
                <a:gd name="T70" fmla="*/ 8 w 308"/>
                <a:gd name="T71" fmla="*/ 91 h 991"/>
                <a:gd name="T72" fmla="*/ 18 w 308"/>
                <a:gd name="T73" fmla="*/ 67 h 991"/>
                <a:gd name="T74" fmla="*/ 32 w 308"/>
                <a:gd name="T75" fmla="*/ 47 h 991"/>
                <a:gd name="T76" fmla="*/ 50 w 308"/>
                <a:gd name="T77" fmla="*/ 30 h 991"/>
                <a:gd name="T78" fmla="*/ 71 w 308"/>
                <a:gd name="T79" fmla="*/ 17 h 991"/>
                <a:gd name="T80" fmla="*/ 96 w 308"/>
                <a:gd name="T81" fmla="*/ 8 h 991"/>
                <a:gd name="T82" fmla="*/ 123 w 308"/>
                <a:gd name="T83" fmla="*/ 2 h 991"/>
                <a:gd name="T84" fmla="*/ 154 w 308"/>
                <a:gd name="T85" fmla="*/ 0 h 9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08" h="991">
                  <a:moveTo>
                    <a:pt x="154" y="0"/>
                  </a:moveTo>
                  <a:lnTo>
                    <a:pt x="186" y="2"/>
                  </a:lnTo>
                  <a:lnTo>
                    <a:pt x="213" y="8"/>
                  </a:lnTo>
                  <a:lnTo>
                    <a:pt x="238" y="17"/>
                  </a:lnTo>
                  <a:lnTo>
                    <a:pt x="259" y="30"/>
                  </a:lnTo>
                  <a:lnTo>
                    <a:pt x="277" y="47"/>
                  </a:lnTo>
                  <a:lnTo>
                    <a:pt x="291" y="67"/>
                  </a:lnTo>
                  <a:lnTo>
                    <a:pt x="301" y="91"/>
                  </a:lnTo>
                  <a:lnTo>
                    <a:pt x="306" y="119"/>
                  </a:lnTo>
                  <a:lnTo>
                    <a:pt x="308" y="150"/>
                  </a:lnTo>
                  <a:lnTo>
                    <a:pt x="308" y="375"/>
                  </a:lnTo>
                  <a:lnTo>
                    <a:pt x="307" y="405"/>
                  </a:lnTo>
                  <a:lnTo>
                    <a:pt x="304" y="435"/>
                  </a:lnTo>
                  <a:lnTo>
                    <a:pt x="301" y="466"/>
                  </a:lnTo>
                  <a:lnTo>
                    <a:pt x="240" y="920"/>
                  </a:lnTo>
                  <a:lnTo>
                    <a:pt x="236" y="942"/>
                  </a:lnTo>
                  <a:lnTo>
                    <a:pt x="229" y="959"/>
                  </a:lnTo>
                  <a:lnTo>
                    <a:pt x="219" y="972"/>
                  </a:lnTo>
                  <a:lnTo>
                    <a:pt x="207" y="981"/>
                  </a:lnTo>
                  <a:lnTo>
                    <a:pt x="192" y="987"/>
                  </a:lnTo>
                  <a:lnTo>
                    <a:pt x="174" y="990"/>
                  </a:lnTo>
                  <a:lnTo>
                    <a:pt x="154" y="991"/>
                  </a:lnTo>
                  <a:lnTo>
                    <a:pt x="135" y="990"/>
                  </a:lnTo>
                  <a:lnTo>
                    <a:pt x="117" y="987"/>
                  </a:lnTo>
                  <a:lnTo>
                    <a:pt x="102" y="981"/>
                  </a:lnTo>
                  <a:lnTo>
                    <a:pt x="90" y="972"/>
                  </a:lnTo>
                  <a:lnTo>
                    <a:pt x="80" y="959"/>
                  </a:lnTo>
                  <a:lnTo>
                    <a:pt x="73" y="942"/>
                  </a:lnTo>
                  <a:lnTo>
                    <a:pt x="69" y="920"/>
                  </a:lnTo>
                  <a:lnTo>
                    <a:pt x="8" y="466"/>
                  </a:lnTo>
                  <a:lnTo>
                    <a:pt x="5" y="435"/>
                  </a:lnTo>
                  <a:lnTo>
                    <a:pt x="2" y="405"/>
                  </a:lnTo>
                  <a:lnTo>
                    <a:pt x="0" y="375"/>
                  </a:lnTo>
                  <a:lnTo>
                    <a:pt x="0" y="150"/>
                  </a:lnTo>
                  <a:lnTo>
                    <a:pt x="3" y="119"/>
                  </a:lnTo>
                  <a:lnTo>
                    <a:pt x="8" y="91"/>
                  </a:lnTo>
                  <a:lnTo>
                    <a:pt x="18" y="67"/>
                  </a:lnTo>
                  <a:lnTo>
                    <a:pt x="32" y="47"/>
                  </a:lnTo>
                  <a:lnTo>
                    <a:pt x="50" y="30"/>
                  </a:lnTo>
                  <a:lnTo>
                    <a:pt x="71" y="17"/>
                  </a:lnTo>
                  <a:lnTo>
                    <a:pt x="96" y="8"/>
                  </a:lnTo>
                  <a:lnTo>
                    <a:pt x="123" y="2"/>
                  </a:lnTo>
                  <a:lnTo>
                    <a:pt x="15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 panose="020B0502020104020203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7" name="Freeform 120">
              <a:extLst>
                <a:ext uri="{FF2B5EF4-FFF2-40B4-BE49-F238E27FC236}">
                  <a16:creationId xmlns:a16="http://schemas.microsoft.com/office/drawing/2014/main" id="{54FB792A-BE70-1184-FCD0-AD08AD1C8410}"/>
                </a:ext>
              </a:extLst>
            </p:cNvPr>
            <p:cNvSpPr>
              <a:spLocks/>
            </p:cNvSpPr>
            <p:nvPr/>
          </p:nvSpPr>
          <p:spPr bwMode="auto">
            <a:xfrm>
              <a:off x="785813" y="3225800"/>
              <a:ext cx="47625" cy="46038"/>
            </a:xfrm>
            <a:custGeom>
              <a:avLst/>
              <a:gdLst>
                <a:gd name="T0" fmla="*/ 160 w 321"/>
                <a:gd name="T1" fmla="*/ 0 h 319"/>
                <a:gd name="T2" fmla="*/ 193 w 321"/>
                <a:gd name="T3" fmla="*/ 4 h 319"/>
                <a:gd name="T4" fmla="*/ 222 w 321"/>
                <a:gd name="T5" fmla="*/ 14 h 319"/>
                <a:gd name="T6" fmla="*/ 250 w 321"/>
                <a:gd name="T7" fmla="*/ 28 h 319"/>
                <a:gd name="T8" fmla="*/ 274 w 321"/>
                <a:gd name="T9" fmla="*/ 47 h 319"/>
                <a:gd name="T10" fmla="*/ 294 w 321"/>
                <a:gd name="T11" fmla="*/ 71 h 319"/>
                <a:gd name="T12" fmla="*/ 308 w 321"/>
                <a:gd name="T13" fmla="*/ 98 h 319"/>
                <a:gd name="T14" fmla="*/ 318 w 321"/>
                <a:gd name="T15" fmla="*/ 128 h 319"/>
                <a:gd name="T16" fmla="*/ 321 w 321"/>
                <a:gd name="T17" fmla="*/ 159 h 319"/>
                <a:gd name="T18" fmla="*/ 318 w 321"/>
                <a:gd name="T19" fmla="*/ 192 h 319"/>
                <a:gd name="T20" fmla="*/ 308 w 321"/>
                <a:gd name="T21" fmla="*/ 222 h 319"/>
                <a:gd name="T22" fmla="*/ 294 w 321"/>
                <a:gd name="T23" fmla="*/ 249 h 319"/>
                <a:gd name="T24" fmla="*/ 274 w 321"/>
                <a:gd name="T25" fmla="*/ 272 h 319"/>
                <a:gd name="T26" fmla="*/ 250 w 321"/>
                <a:gd name="T27" fmla="*/ 291 h 319"/>
                <a:gd name="T28" fmla="*/ 222 w 321"/>
                <a:gd name="T29" fmla="*/ 306 h 319"/>
                <a:gd name="T30" fmla="*/ 193 w 321"/>
                <a:gd name="T31" fmla="*/ 315 h 319"/>
                <a:gd name="T32" fmla="*/ 160 w 321"/>
                <a:gd name="T33" fmla="*/ 319 h 319"/>
                <a:gd name="T34" fmla="*/ 128 w 321"/>
                <a:gd name="T35" fmla="*/ 315 h 319"/>
                <a:gd name="T36" fmla="*/ 99 w 321"/>
                <a:gd name="T37" fmla="*/ 306 h 319"/>
                <a:gd name="T38" fmla="*/ 71 w 321"/>
                <a:gd name="T39" fmla="*/ 291 h 319"/>
                <a:gd name="T40" fmla="*/ 47 w 321"/>
                <a:gd name="T41" fmla="*/ 272 h 319"/>
                <a:gd name="T42" fmla="*/ 27 w 321"/>
                <a:gd name="T43" fmla="*/ 249 h 319"/>
                <a:gd name="T44" fmla="*/ 13 w 321"/>
                <a:gd name="T45" fmla="*/ 222 h 319"/>
                <a:gd name="T46" fmla="*/ 3 w 321"/>
                <a:gd name="T47" fmla="*/ 192 h 319"/>
                <a:gd name="T48" fmla="*/ 0 w 321"/>
                <a:gd name="T49" fmla="*/ 159 h 319"/>
                <a:gd name="T50" fmla="*/ 3 w 321"/>
                <a:gd name="T51" fmla="*/ 128 h 319"/>
                <a:gd name="T52" fmla="*/ 13 w 321"/>
                <a:gd name="T53" fmla="*/ 98 h 319"/>
                <a:gd name="T54" fmla="*/ 27 w 321"/>
                <a:gd name="T55" fmla="*/ 71 h 319"/>
                <a:gd name="T56" fmla="*/ 47 w 321"/>
                <a:gd name="T57" fmla="*/ 47 h 319"/>
                <a:gd name="T58" fmla="*/ 71 w 321"/>
                <a:gd name="T59" fmla="*/ 28 h 319"/>
                <a:gd name="T60" fmla="*/ 99 w 321"/>
                <a:gd name="T61" fmla="*/ 14 h 319"/>
                <a:gd name="T62" fmla="*/ 128 w 321"/>
                <a:gd name="T63" fmla="*/ 4 h 319"/>
                <a:gd name="T64" fmla="*/ 160 w 321"/>
                <a:gd name="T65" fmla="*/ 0 h 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21" h="319">
                  <a:moveTo>
                    <a:pt x="160" y="0"/>
                  </a:moveTo>
                  <a:lnTo>
                    <a:pt x="193" y="4"/>
                  </a:lnTo>
                  <a:lnTo>
                    <a:pt x="222" y="14"/>
                  </a:lnTo>
                  <a:lnTo>
                    <a:pt x="250" y="28"/>
                  </a:lnTo>
                  <a:lnTo>
                    <a:pt x="274" y="47"/>
                  </a:lnTo>
                  <a:lnTo>
                    <a:pt x="294" y="71"/>
                  </a:lnTo>
                  <a:lnTo>
                    <a:pt x="308" y="98"/>
                  </a:lnTo>
                  <a:lnTo>
                    <a:pt x="318" y="128"/>
                  </a:lnTo>
                  <a:lnTo>
                    <a:pt x="321" y="159"/>
                  </a:lnTo>
                  <a:lnTo>
                    <a:pt x="318" y="192"/>
                  </a:lnTo>
                  <a:lnTo>
                    <a:pt x="308" y="222"/>
                  </a:lnTo>
                  <a:lnTo>
                    <a:pt x="294" y="249"/>
                  </a:lnTo>
                  <a:lnTo>
                    <a:pt x="274" y="272"/>
                  </a:lnTo>
                  <a:lnTo>
                    <a:pt x="250" y="291"/>
                  </a:lnTo>
                  <a:lnTo>
                    <a:pt x="222" y="306"/>
                  </a:lnTo>
                  <a:lnTo>
                    <a:pt x="193" y="315"/>
                  </a:lnTo>
                  <a:lnTo>
                    <a:pt x="160" y="319"/>
                  </a:lnTo>
                  <a:lnTo>
                    <a:pt x="128" y="315"/>
                  </a:lnTo>
                  <a:lnTo>
                    <a:pt x="99" y="306"/>
                  </a:lnTo>
                  <a:lnTo>
                    <a:pt x="71" y="291"/>
                  </a:lnTo>
                  <a:lnTo>
                    <a:pt x="47" y="272"/>
                  </a:lnTo>
                  <a:lnTo>
                    <a:pt x="27" y="249"/>
                  </a:lnTo>
                  <a:lnTo>
                    <a:pt x="13" y="222"/>
                  </a:lnTo>
                  <a:lnTo>
                    <a:pt x="3" y="192"/>
                  </a:lnTo>
                  <a:lnTo>
                    <a:pt x="0" y="159"/>
                  </a:lnTo>
                  <a:lnTo>
                    <a:pt x="3" y="128"/>
                  </a:lnTo>
                  <a:lnTo>
                    <a:pt x="13" y="98"/>
                  </a:lnTo>
                  <a:lnTo>
                    <a:pt x="27" y="71"/>
                  </a:lnTo>
                  <a:lnTo>
                    <a:pt x="47" y="47"/>
                  </a:lnTo>
                  <a:lnTo>
                    <a:pt x="71" y="28"/>
                  </a:lnTo>
                  <a:lnTo>
                    <a:pt x="99" y="14"/>
                  </a:lnTo>
                  <a:lnTo>
                    <a:pt x="128" y="4"/>
                  </a:lnTo>
                  <a:lnTo>
                    <a:pt x="16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 panose="020B0502020104020203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5D630A23-8894-7656-1506-C228F2A8C37A}"/>
              </a:ext>
            </a:extLst>
          </p:cNvPr>
          <p:cNvGrpSpPr/>
          <p:nvPr/>
        </p:nvGrpSpPr>
        <p:grpSpPr>
          <a:xfrm>
            <a:off x="8389178" y="5090837"/>
            <a:ext cx="318856" cy="350274"/>
            <a:chOff x="592138" y="2925763"/>
            <a:chExt cx="434976" cy="477838"/>
          </a:xfrm>
          <a:solidFill>
            <a:sysClr val="window" lastClr="FFFFFF"/>
          </a:solidFill>
        </p:grpSpPr>
        <p:sp>
          <p:nvSpPr>
            <p:cNvPr id="149" name="Freeform 122">
              <a:extLst>
                <a:ext uri="{FF2B5EF4-FFF2-40B4-BE49-F238E27FC236}">
                  <a16:creationId xmlns:a16="http://schemas.microsoft.com/office/drawing/2014/main" id="{1966154C-1F52-7B09-4AD7-FA27549324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3576" y="2998788"/>
              <a:ext cx="292100" cy="404813"/>
            </a:xfrm>
            <a:custGeom>
              <a:avLst/>
              <a:gdLst>
                <a:gd name="T0" fmla="*/ 750 w 2029"/>
                <a:gd name="T1" fmla="*/ 299 h 2800"/>
                <a:gd name="T2" fmla="*/ 479 w 2029"/>
                <a:gd name="T3" fmla="*/ 466 h 2800"/>
                <a:gd name="T4" fmla="*/ 304 w 2029"/>
                <a:gd name="T5" fmla="*/ 723 h 2800"/>
                <a:gd name="T6" fmla="*/ 259 w 2029"/>
                <a:gd name="T7" fmla="*/ 1034 h 2800"/>
                <a:gd name="T8" fmla="*/ 314 w 2029"/>
                <a:gd name="T9" fmla="*/ 1283 h 2800"/>
                <a:gd name="T10" fmla="*/ 414 w 2029"/>
                <a:gd name="T11" fmla="*/ 1472 h 2800"/>
                <a:gd name="T12" fmla="*/ 530 w 2029"/>
                <a:gd name="T13" fmla="*/ 1646 h 2800"/>
                <a:gd name="T14" fmla="*/ 603 w 2029"/>
                <a:gd name="T15" fmla="*/ 1843 h 2800"/>
                <a:gd name="T16" fmla="*/ 647 w 2029"/>
                <a:gd name="T17" fmla="*/ 1978 h 2800"/>
                <a:gd name="T18" fmla="*/ 1346 w 2029"/>
                <a:gd name="T19" fmla="*/ 2011 h 2800"/>
                <a:gd name="T20" fmla="*/ 1421 w 2029"/>
                <a:gd name="T21" fmla="*/ 1912 h 2800"/>
                <a:gd name="T22" fmla="*/ 1460 w 2029"/>
                <a:gd name="T23" fmla="*/ 1721 h 2800"/>
                <a:gd name="T24" fmla="*/ 1570 w 2029"/>
                <a:gd name="T25" fmla="*/ 1538 h 2800"/>
                <a:gd name="T26" fmla="*/ 1678 w 2029"/>
                <a:gd name="T27" fmla="*/ 1364 h 2800"/>
                <a:gd name="T28" fmla="*/ 1756 w 2029"/>
                <a:gd name="T29" fmla="*/ 1143 h 2800"/>
                <a:gd name="T30" fmla="*/ 1760 w 2029"/>
                <a:gd name="T31" fmla="*/ 844 h 2800"/>
                <a:gd name="T32" fmla="*/ 1634 w 2029"/>
                <a:gd name="T33" fmla="*/ 559 h 2800"/>
                <a:gd name="T34" fmla="*/ 1397 w 2029"/>
                <a:gd name="T35" fmla="*/ 352 h 2800"/>
                <a:gd name="T36" fmla="*/ 1084 w 2029"/>
                <a:gd name="T37" fmla="*/ 258 h 2800"/>
                <a:gd name="T38" fmla="*/ 1258 w 2029"/>
                <a:gd name="T39" fmla="*/ 29 h 2800"/>
                <a:gd name="T40" fmla="*/ 1613 w 2029"/>
                <a:gd name="T41" fmla="*/ 188 h 2800"/>
                <a:gd name="T42" fmla="*/ 1877 w 2029"/>
                <a:gd name="T43" fmla="*/ 461 h 2800"/>
                <a:gd name="T44" fmla="*/ 2015 w 2029"/>
                <a:gd name="T45" fmla="*/ 815 h 2800"/>
                <a:gd name="T46" fmla="*/ 2013 w 2029"/>
                <a:gd name="T47" fmla="*/ 1166 h 2800"/>
                <a:gd name="T48" fmla="*/ 1934 w 2029"/>
                <a:gd name="T49" fmla="*/ 1424 h 2800"/>
                <a:gd name="T50" fmla="*/ 1825 w 2029"/>
                <a:gd name="T51" fmla="*/ 1617 h 2800"/>
                <a:gd name="T52" fmla="*/ 1714 w 2029"/>
                <a:gd name="T53" fmla="*/ 1785 h 2800"/>
                <a:gd name="T54" fmla="*/ 1677 w 2029"/>
                <a:gd name="T55" fmla="*/ 1934 h 2800"/>
                <a:gd name="T56" fmla="*/ 1572 w 2029"/>
                <a:gd name="T57" fmla="*/ 2150 h 2800"/>
                <a:gd name="T58" fmla="*/ 1487 w 2029"/>
                <a:gd name="T59" fmla="*/ 2294 h 2800"/>
                <a:gd name="T60" fmla="*/ 1480 w 2029"/>
                <a:gd name="T61" fmla="*/ 2429 h 2800"/>
                <a:gd name="T62" fmla="*/ 1476 w 2029"/>
                <a:gd name="T63" fmla="*/ 2492 h 2800"/>
                <a:gd name="T64" fmla="*/ 1446 w 2029"/>
                <a:gd name="T65" fmla="*/ 2575 h 2800"/>
                <a:gd name="T66" fmla="*/ 1340 w 2029"/>
                <a:gd name="T67" fmla="*/ 2666 h 2800"/>
                <a:gd name="T68" fmla="*/ 1184 w 2029"/>
                <a:gd name="T69" fmla="*/ 2779 h 2800"/>
                <a:gd name="T70" fmla="*/ 891 w 2029"/>
                <a:gd name="T71" fmla="*/ 2798 h 2800"/>
                <a:gd name="T72" fmla="*/ 762 w 2029"/>
                <a:gd name="T73" fmla="*/ 2698 h 2800"/>
                <a:gd name="T74" fmla="*/ 607 w 2029"/>
                <a:gd name="T75" fmla="*/ 2606 h 2800"/>
                <a:gd name="T76" fmla="*/ 556 w 2029"/>
                <a:gd name="T77" fmla="*/ 2509 h 2800"/>
                <a:gd name="T78" fmla="*/ 551 w 2029"/>
                <a:gd name="T79" fmla="*/ 2466 h 2800"/>
                <a:gd name="T80" fmla="*/ 545 w 2029"/>
                <a:gd name="T81" fmla="*/ 2350 h 2800"/>
                <a:gd name="T82" fmla="*/ 538 w 2029"/>
                <a:gd name="T83" fmla="*/ 2221 h 2800"/>
                <a:gd name="T84" fmla="*/ 376 w 2029"/>
                <a:gd name="T85" fmla="*/ 2025 h 2800"/>
                <a:gd name="T86" fmla="*/ 340 w 2029"/>
                <a:gd name="T87" fmla="*/ 1839 h 2800"/>
                <a:gd name="T88" fmla="*/ 248 w 2029"/>
                <a:gd name="T89" fmla="*/ 1682 h 2800"/>
                <a:gd name="T90" fmla="*/ 138 w 2029"/>
                <a:gd name="T91" fmla="*/ 1508 h 2800"/>
                <a:gd name="T92" fmla="*/ 41 w 2029"/>
                <a:gd name="T93" fmla="*/ 1278 h 2800"/>
                <a:gd name="T94" fmla="*/ 0 w 2029"/>
                <a:gd name="T95" fmla="*/ 973 h 2800"/>
                <a:gd name="T96" fmla="*/ 80 w 2029"/>
                <a:gd name="T97" fmla="*/ 595 h 2800"/>
                <a:gd name="T98" fmla="*/ 298 w 2029"/>
                <a:gd name="T99" fmla="*/ 286 h 2800"/>
                <a:gd name="T100" fmla="*/ 621 w 2029"/>
                <a:gd name="T101" fmla="*/ 77 h 2800"/>
                <a:gd name="T102" fmla="*/ 1014 w 2029"/>
                <a:gd name="T103" fmla="*/ 0 h 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029" h="2800">
                  <a:moveTo>
                    <a:pt x="1014" y="255"/>
                  </a:moveTo>
                  <a:lnTo>
                    <a:pt x="945" y="258"/>
                  </a:lnTo>
                  <a:lnTo>
                    <a:pt x="878" y="266"/>
                  </a:lnTo>
                  <a:lnTo>
                    <a:pt x="813" y="281"/>
                  </a:lnTo>
                  <a:lnTo>
                    <a:pt x="750" y="299"/>
                  </a:lnTo>
                  <a:lnTo>
                    <a:pt x="690" y="324"/>
                  </a:lnTo>
                  <a:lnTo>
                    <a:pt x="632" y="354"/>
                  </a:lnTo>
                  <a:lnTo>
                    <a:pt x="578" y="387"/>
                  </a:lnTo>
                  <a:lnTo>
                    <a:pt x="527" y="424"/>
                  </a:lnTo>
                  <a:lnTo>
                    <a:pt x="479" y="466"/>
                  </a:lnTo>
                  <a:lnTo>
                    <a:pt x="435" y="511"/>
                  </a:lnTo>
                  <a:lnTo>
                    <a:pt x="396" y="559"/>
                  </a:lnTo>
                  <a:lnTo>
                    <a:pt x="361" y="611"/>
                  </a:lnTo>
                  <a:lnTo>
                    <a:pt x="330" y="666"/>
                  </a:lnTo>
                  <a:lnTo>
                    <a:pt x="304" y="723"/>
                  </a:lnTo>
                  <a:lnTo>
                    <a:pt x="284" y="783"/>
                  </a:lnTo>
                  <a:lnTo>
                    <a:pt x="270" y="844"/>
                  </a:lnTo>
                  <a:lnTo>
                    <a:pt x="260" y="908"/>
                  </a:lnTo>
                  <a:lnTo>
                    <a:pt x="257" y="973"/>
                  </a:lnTo>
                  <a:lnTo>
                    <a:pt x="259" y="1034"/>
                  </a:lnTo>
                  <a:lnTo>
                    <a:pt x="264" y="1090"/>
                  </a:lnTo>
                  <a:lnTo>
                    <a:pt x="273" y="1143"/>
                  </a:lnTo>
                  <a:lnTo>
                    <a:pt x="284" y="1193"/>
                  </a:lnTo>
                  <a:lnTo>
                    <a:pt x="298" y="1240"/>
                  </a:lnTo>
                  <a:lnTo>
                    <a:pt x="314" y="1283"/>
                  </a:lnTo>
                  <a:lnTo>
                    <a:pt x="331" y="1325"/>
                  </a:lnTo>
                  <a:lnTo>
                    <a:pt x="351" y="1364"/>
                  </a:lnTo>
                  <a:lnTo>
                    <a:pt x="371" y="1402"/>
                  </a:lnTo>
                  <a:lnTo>
                    <a:pt x="393" y="1437"/>
                  </a:lnTo>
                  <a:lnTo>
                    <a:pt x="414" y="1472"/>
                  </a:lnTo>
                  <a:lnTo>
                    <a:pt x="437" y="1505"/>
                  </a:lnTo>
                  <a:lnTo>
                    <a:pt x="458" y="1537"/>
                  </a:lnTo>
                  <a:lnTo>
                    <a:pt x="483" y="1573"/>
                  </a:lnTo>
                  <a:lnTo>
                    <a:pt x="507" y="1610"/>
                  </a:lnTo>
                  <a:lnTo>
                    <a:pt x="530" y="1646"/>
                  </a:lnTo>
                  <a:lnTo>
                    <a:pt x="551" y="1683"/>
                  </a:lnTo>
                  <a:lnTo>
                    <a:pt x="569" y="1721"/>
                  </a:lnTo>
                  <a:lnTo>
                    <a:pt x="584" y="1760"/>
                  </a:lnTo>
                  <a:lnTo>
                    <a:pt x="595" y="1800"/>
                  </a:lnTo>
                  <a:lnTo>
                    <a:pt x="603" y="1843"/>
                  </a:lnTo>
                  <a:lnTo>
                    <a:pt x="605" y="1888"/>
                  </a:lnTo>
                  <a:lnTo>
                    <a:pt x="608" y="1912"/>
                  </a:lnTo>
                  <a:lnTo>
                    <a:pt x="617" y="1936"/>
                  </a:lnTo>
                  <a:lnTo>
                    <a:pt x="630" y="1958"/>
                  </a:lnTo>
                  <a:lnTo>
                    <a:pt x="647" y="1978"/>
                  </a:lnTo>
                  <a:lnTo>
                    <a:pt x="665" y="1996"/>
                  </a:lnTo>
                  <a:lnTo>
                    <a:pt x="683" y="2011"/>
                  </a:lnTo>
                  <a:lnTo>
                    <a:pt x="701" y="2025"/>
                  </a:lnTo>
                  <a:lnTo>
                    <a:pt x="1328" y="2025"/>
                  </a:lnTo>
                  <a:lnTo>
                    <a:pt x="1346" y="2011"/>
                  </a:lnTo>
                  <a:lnTo>
                    <a:pt x="1364" y="1996"/>
                  </a:lnTo>
                  <a:lnTo>
                    <a:pt x="1383" y="1978"/>
                  </a:lnTo>
                  <a:lnTo>
                    <a:pt x="1399" y="1958"/>
                  </a:lnTo>
                  <a:lnTo>
                    <a:pt x="1412" y="1936"/>
                  </a:lnTo>
                  <a:lnTo>
                    <a:pt x="1421" y="1912"/>
                  </a:lnTo>
                  <a:lnTo>
                    <a:pt x="1424" y="1888"/>
                  </a:lnTo>
                  <a:lnTo>
                    <a:pt x="1426" y="1843"/>
                  </a:lnTo>
                  <a:lnTo>
                    <a:pt x="1434" y="1800"/>
                  </a:lnTo>
                  <a:lnTo>
                    <a:pt x="1445" y="1760"/>
                  </a:lnTo>
                  <a:lnTo>
                    <a:pt x="1460" y="1721"/>
                  </a:lnTo>
                  <a:lnTo>
                    <a:pt x="1478" y="1684"/>
                  </a:lnTo>
                  <a:lnTo>
                    <a:pt x="1498" y="1646"/>
                  </a:lnTo>
                  <a:lnTo>
                    <a:pt x="1520" y="1610"/>
                  </a:lnTo>
                  <a:lnTo>
                    <a:pt x="1545" y="1574"/>
                  </a:lnTo>
                  <a:lnTo>
                    <a:pt x="1570" y="1538"/>
                  </a:lnTo>
                  <a:lnTo>
                    <a:pt x="1592" y="1506"/>
                  </a:lnTo>
                  <a:lnTo>
                    <a:pt x="1614" y="1473"/>
                  </a:lnTo>
                  <a:lnTo>
                    <a:pt x="1636" y="1438"/>
                  </a:lnTo>
                  <a:lnTo>
                    <a:pt x="1658" y="1402"/>
                  </a:lnTo>
                  <a:lnTo>
                    <a:pt x="1678" y="1364"/>
                  </a:lnTo>
                  <a:lnTo>
                    <a:pt x="1698" y="1325"/>
                  </a:lnTo>
                  <a:lnTo>
                    <a:pt x="1715" y="1283"/>
                  </a:lnTo>
                  <a:lnTo>
                    <a:pt x="1731" y="1240"/>
                  </a:lnTo>
                  <a:lnTo>
                    <a:pt x="1745" y="1193"/>
                  </a:lnTo>
                  <a:lnTo>
                    <a:pt x="1756" y="1143"/>
                  </a:lnTo>
                  <a:lnTo>
                    <a:pt x="1765" y="1090"/>
                  </a:lnTo>
                  <a:lnTo>
                    <a:pt x="1770" y="1034"/>
                  </a:lnTo>
                  <a:lnTo>
                    <a:pt x="1772" y="973"/>
                  </a:lnTo>
                  <a:lnTo>
                    <a:pt x="1769" y="908"/>
                  </a:lnTo>
                  <a:lnTo>
                    <a:pt x="1760" y="844"/>
                  </a:lnTo>
                  <a:lnTo>
                    <a:pt x="1745" y="782"/>
                  </a:lnTo>
                  <a:lnTo>
                    <a:pt x="1725" y="723"/>
                  </a:lnTo>
                  <a:lnTo>
                    <a:pt x="1700" y="666"/>
                  </a:lnTo>
                  <a:lnTo>
                    <a:pt x="1668" y="610"/>
                  </a:lnTo>
                  <a:lnTo>
                    <a:pt x="1634" y="559"/>
                  </a:lnTo>
                  <a:lnTo>
                    <a:pt x="1594" y="511"/>
                  </a:lnTo>
                  <a:lnTo>
                    <a:pt x="1550" y="466"/>
                  </a:lnTo>
                  <a:lnTo>
                    <a:pt x="1503" y="424"/>
                  </a:lnTo>
                  <a:lnTo>
                    <a:pt x="1451" y="386"/>
                  </a:lnTo>
                  <a:lnTo>
                    <a:pt x="1397" y="352"/>
                  </a:lnTo>
                  <a:lnTo>
                    <a:pt x="1339" y="324"/>
                  </a:lnTo>
                  <a:lnTo>
                    <a:pt x="1278" y="299"/>
                  </a:lnTo>
                  <a:lnTo>
                    <a:pt x="1216" y="281"/>
                  </a:lnTo>
                  <a:lnTo>
                    <a:pt x="1151" y="266"/>
                  </a:lnTo>
                  <a:lnTo>
                    <a:pt x="1084" y="258"/>
                  </a:lnTo>
                  <a:lnTo>
                    <a:pt x="1014" y="255"/>
                  </a:lnTo>
                  <a:close/>
                  <a:moveTo>
                    <a:pt x="1014" y="0"/>
                  </a:moveTo>
                  <a:lnTo>
                    <a:pt x="1097" y="3"/>
                  </a:lnTo>
                  <a:lnTo>
                    <a:pt x="1179" y="13"/>
                  </a:lnTo>
                  <a:lnTo>
                    <a:pt x="1258" y="29"/>
                  </a:lnTo>
                  <a:lnTo>
                    <a:pt x="1335" y="50"/>
                  </a:lnTo>
                  <a:lnTo>
                    <a:pt x="1408" y="77"/>
                  </a:lnTo>
                  <a:lnTo>
                    <a:pt x="1480" y="109"/>
                  </a:lnTo>
                  <a:lnTo>
                    <a:pt x="1548" y="147"/>
                  </a:lnTo>
                  <a:lnTo>
                    <a:pt x="1613" y="188"/>
                  </a:lnTo>
                  <a:lnTo>
                    <a:pt x="1673" y="235"/>
                  </a:lnTo>
                  <a:lnTo>
                    <a:pt x="1731" y="286"/>
                  </a:lnTo>
                  <a:lnTo>
                    <a:pt x="1783" y="340"/>
                  </a:lnTo>
                  <a:lnTo>
                    <a:pt x="1833" y="399"/>
                  </a:lnTo>
                  <a:lnTo>
                    <a:pt x="1877" y="461"/>
                  </a:lnTo>
                  <a:lnTo>
                    <a:pt x="1915" y="526"/>
                  </a:lnTo>
                  <a:lnTo>
                    <a:pt x="1949" y="595"/>
                  </a:lnTo>
                  <a:lnTo>
                    <a:pt x="1976" y="667"/>
                  </a:lnTo>
                  <a:lnTo>
                    <a:pt x="1999" y="739"/>
                  </a:lnTo>
                  <a:lnTo>
                    <a:pt x="2015" y="815"/>
                  </a:lnTo>
                  <a:lnTo>
                    <a:pt x="2025" y="893"/>
                  </a:lnTo>
                  <a:lnTo>
                    <a:pt x="2029" y="973"/>
                  </a:lnTo>
                  <a:lnTo>
                    <a:pt x="2026" y="1041"/>
                  </a:lnTo>
                  <a:lnTo>
                    <a:pt x="2021" y="1105"/>
                  </a:lnTo>
                  <a:lnTo>
                    <a:pt x="2013" y="1166"/>
                  </a:lnTo>
                  <a:lnTo>
                    <a:pt x="2001" y="1224"/>
                  </a:lnTo>
                  <a:lnTo>
                    <a:pt x="1988" y="1278"/>
                  </a:lnTo>
                  <a:lnTo>
                    <a:pt x="1972" y="1329"/>
                  </a:lnTo>
                  <a:lnTo>
                    <a:pt x="1953" y="1378"/>
                  </a:lnTo>
                  <a:lnTo>
                    <a:pt x="1934" y="1424"/>
                  </a:lnTo>
                  <a:lnTo>
                    <a:pt x="1913" y="1466"/>
                  </a:lnTo>
                  <a:lnTo>
                    <a:pt x="1892" y="1507"/>
                  </a:lnTo>
                  <a:lnTo>
                    <a:pt x="1869" y="1546"/>
                  </a:lnTo>
                  <a:lnTo>
                    <a:pt x="1847" y="1583"/>
                  </a:lnTo>
                  <a:lnTo>
                    <a:pt x="1825" y="1617"/>
                  </a:lnTo>
                  <a:lnTo>
                    <a:pt x="1803" y="1649"/>
                  </a:lnTo>
                  <a:lnTo>
                    <a:pt x="1781" y="1681"/>
                  </a:lnTo>
                  <a:lnTo>
                    <a:pt x="1756" y="1719"/>
                  </a:lnTo>
                  <a:lnTo>
                    <a:pt x="1733" y="1753"/>
                  </a:lnTo>
                  <a:lnTo>
                    <a:pt x="1714" y="1785"/>
                  </a:lnTo>
                  <a:lnTo>
                    <a:pt x="1700" y="1813"/>
                  </a:lnTo>
                  <a:lnTo>
                    <a:pt x="1689" y="1839"/>
                  </a:lnTo>
                  <a:lnTo>
                    <a:pt x="1682" y="1864"/>
                  </a:lnTo>
                  <a:lnTo>
                    <a:pt x="1680" y="1888"/>
                  </a:lnTo>
                  <a:lnTo>
                    <a:pt x="1677" y="1934"/>
                  </a:lnTo>
                  <a:lnTo>
                    <a:pt x="1667" y="1980"/>
                  </a:lnTo>
                  <a:lnTo>
                    <a:pt x="1652" y="2025"/>
                  </a:lnTo>
                  <a:lnTo>
                    <a:pt x="1630" y="2068"/>
                  </a:lnTo>
                  <a:lnTo>
                    <a:pt x="1604" y="2110"/>
                  </a:lnTo>
                  <a:lnTo>
                    <a:pt x="1572" y="2150"/>
                  </a:lnTo>
                  <a:lnTo>
                    <a:pt x="1534" y="2187"/>
                  </a:lnTo>
                  <a:lnTo>
                    <a:pt x="1491" y="2221"/>
                  </a:lnTo>
                  <a:lnTo>
                    <a:pt x="1490" y="2242"/>
                  </a:lnTo>
                  <a:lnTo>
                    <a:pt x="1489" y="2267"/>
                  </a:lnTo>
                  <a:lnTo>
                    <a:pt x="1487" y="2294"/>
                  </a:lnTo>
                  <a:lnTo>
                    <a:pt x="1486" y="2322"/>
                  </a:lnTo>
                  <a:lnTo>
                    <a:pt x="1484" y="2350"/>
                  </a:lnTo>
                  <a:lnTo>
                    <a:pt x="1483" y="2378"/>
                  </a:lnTo>
                  <a:lnTo>
                    <a:pt x="1481" y="2405"/>
                  </a:lnTo>
                  <a:lnTo>
                    <a:pt x="1480" y="2429"/>
                  </a:lnTo>
                  <a:lnTo>
                    <a:pt x="1479" y="2449"/>
                  </a:lnTo>
                  <a:lnTo>
                    <a:pt x="1478" y="2466"/>
                  </a:lnTo>
                  <a:lnTo>
                    <a:pt x="1478" y="2476"/>
                  </a:lnTo>
                  <a:lnTo>
                    <a:pt x="1476" y="2479"/>
                  </a:lnTo>
                  <a:lnTo>
                    <a:pt x="1476" y="2492"/>
                  </a:lnTo>
                  <a:lnTo>
                    <a:pt x="1474" y="2506"/>
                  </a:lnTo>
                  <a:lnTo>
                    <a:pt x="1470" y="2522"/>
                  </a:lnTo>
                  <a:lnTo>
                    <a:pt x="1465" y="2539"/>
                  </a:lnTo>
                  <a:lnTo>
                    <a:pt x="1457" y="2557"/>
                  </a:lnTo>
                  <a:lnTo>
                    <a:pt x="1446" y="2575"/>
                  </a:lnTo>
                  <a:lnTo>
                    <a:pt x="1432" y="2594"/>
                  </a:lnTo>
                  <a:lnTo>
                    <a:pt x="1416" y="2613"/>
                  </a:lnTo>
                  <a:lnTo>
                    <a:pt x="1395" y="2631"/>
                  </a:lnTo>
                  <a:lnTo>
                    <a:pt x="1370" y="2650"/>
                  </a:lnTo>
                  <a:lnTo>
                    <a:pt x="1340" y="2666"/>
                  </a:lnTo>
                  <a:lnTo>
                    <a:pt x="1307" y="2683"/>
                  </a:lnTo>
                  <a:lnTo>
                    <a:pt x="1267" y="2698"/>
                  </a:lnTo>
                  <a:lnTo>
                    <a:pt x="1244" y="2727"/>
                  </a:lnTo>
                  <a:lnTo>
                    <a:pt x="1216" y="2754"/>
                  </a:lnTo>
                  <a:lnTo>
                    <a:pt x="1184" y="2779"/>
                  </a:lnTo>
                  <a:lnTo>
                    <a:pt x="1162" y="2790"/>
                  </a:lnTo>
                  <a:lnTo>
                    <a:pt x="1138" y="2798"/>
                  </a:lnTo>
                  <a:lnTo>
                    <a:pt x="1113" y="2800"/>
                  </a:lnTo>
                  <a:lnTo>
                    <a:pt x="916" y="2800"/>
                  </a:lnTo>
                  <a:lnTo>
                    <a:pt x="891" y="2798"/>
                  </a:lnTo>
                  <a:lnTo>
                    <a:pt x="867" y="2790"/>
                  </a:lnTo>
                  <a:lnTo>
                    <a:pt x="845" y="2779"/>
                  </a:lnTo>
                  <a:lnTo>
                    <a:pt x="813" y="2754"/>
                  </a:lnTo>
                  <a:lnTo>
                    <a:pt x="785" y="2727"/>
                  </a:lnTo>
                  <a:lnTo>
                    <a:pt x="762" y="2698"/>
                  </a:lnTo>
                  <a:lnTo>
                    <a:pt x="720" y="2681"/>
                  </a:lnTo>
                  <a:lnTo>
                    <a:pt x="684" y="2664"/>
                  </a:lnTo>
                  <a:lnTo>
                    <a:pt x="653" y="2646"/>
                  </a:lnTo>
                  <a:lnTo>
                    <a:pt x="628" y="2626"/>
                  </a:lnTo>
                  <a:lnTo>
                    <a:pt x="607" y="2606"/>
                  </a:lnTo>
                  <a:lnTo>
                    <a:pt x="590" y="2585"/>
                  </a:lnTo>
                  <a:lnTo>
                    <a:pt x="578" y="2566"/>
                  </a:lnTo>
                  <a:lnTo>
                    <a:pt x="567" y="2546"/>
                  </a:lnTo>
                  <a:lnTo>
                    <a:pt x="561" y="2527"/>
                  </a:lnTo>
                  <a:lnTo>
                    <a:pt x="556" y="2509"/>
                  </a:lnTo>
                  <a:lnTo>
                    <a:pt x="554" y="2494"/>
                  </a:lnTo>
                  <a:lnTo>
                    <a:pt x="552" y="2479"/>
                  </a:lnTo>
                  <a:lnTo>
                    <a:pt x="552" y="2479"/>
                  </a:lnTo>
                  <a:lnTo>
                    <a:pt x="552" y="2476"/>
                  </a:lnTo>
                  <a:lnTo>
                    <a:pt x="551" y="2466"/>
                  </a:lnTo>
                  <a:lnTo>
                    <a:pt x="550" y="2449"/>
                  </a:lnTo>
                  <a:lnTo>
                    <a:pt x="549" y="2429"/>
                  </a:lnTo>
                  <a:lnTo>
                    <a:pt x="548" y="2405"/>
                  </a:lnTo>
                  <a:lnTo>
                    <a:pt x="546" y="2378"/>
                  </a:lnTo>
                  <a:lnTo>
                    <a:pt x="545" y="2350"/>
                  </a:lnTo>
                  <a:lnTo>
                    <a:pt x="543" y="2322"/>
                  </a:lnTo>
                  <a:lnTo>
                    <a:pt x="542" y="2294"/>
                  </a:lnTo>
                  <a:lnTo>
                    <a:pt x="540" y="2267"/>
                  </a:lnTo>
                  <a:lnTo>
                    <a:pt x="539" y="2242"/>
                  </a:lnTo>
                  <a:lnTo>
                    <a:pt x="538" y="2221"/>
                  </a:lnTo>
                  <a:lnTo>
                    <a:pt x="495" y="2187"/>
                  </a:lnTo>
                  <a:lnTo>
                    <a:pt x="457" y="2150"/>
                  </a:lnTo>
                  <a:lnTo>
                    <a:pt x="425" y="2110"/>
                  </a:lnTo>
                  <a:lnTo>
                    <a:pt x="398" y="2068"/>
                  </a:lnTo>
                  <a:lnTo>
                    <a:pt x="376" y="2025"/>
                  </a:lnTo>
                  <a:lnTo>
                    <a:pt x="362" y="1980"/>
                  </a:lnTo>
                  <a:lnTo>
                    <a:pt x="352" y="1934"/>
                  </a:lnTo>
                  <a:lnTo>
                    <a:pt x="349" y="1888"/>
                  </a:lnTo>
                  <a:lnTo>
                    <a:pt x="347" y="1864"/>
                  </a:lnTo>
                  <a:lnTo>
                    <a:pt x="340" y="1839"/>
                  </a:lnTo>
                  <a:lnTo>
                    <a:pt x="329" y="1813"/>
                  </a:lnTo>
                  <a:lnTo>
                    <a:pt x="315" y="1785"/>
                  </a:lnTo>
                  <a:lnTo>
                    <a:pt x="296" y="1753"/>
                  </a:lnTo>
                  <a:lnTo>
                    <a:pt x="274" y="1719"/>
                  </a:lnTo>
                  <a:lnTo>
                    <a:pt x="248" y="1682"/>
                  </a:lnTo>
                  <a:lnTo>
                    <a:pt x="227" y="1650"/>
                  </a:lnTo>
                  <a:lnTo>
                    <a:pt x="205" y="1617"/>
                  </a:lnTo>
                  <a:lnTo>
                    <a:pt x="182" y="1583"/>
                  </a:lnTo>
                  <a:lnTo>
                    <a:pt x="160" y="1546"/>
                  </a:lnTo>
                  <a:lnTo>
                    <a:pt x="138" y="1508"/>
                  </a:lnTo>
                  <a:lnTo>
                    <a:pt x="116" y="1466"/>
                  </a:lnTo>
                  <a:lnTo>
                    <a:pt x="95" y="1424"/>
                  </a:lnTo>
                  <a:lnTo>
                    <a:pt x="76" y="1378"/>
                  </a:lnTo>
                  <a:lnTo>
                    <a:pt x="57" y="1329"/>
                  </a:lnTo>
                  <a:lnTo>
                    <a:pt x="41" y="1278"/>
                  </a:lnTo>
                  <a:lnTo>
                    <a:pt x="28" y="1224"/>
                  </a:lnTo>
                  <a:lnTo>
                    <a:pt x="16" y="1166"/>
                  </a:lnTo>
                  <a:lnTo>
                    <a:pt x="8" y="1105"/>
                  </a:lnTo>
                  <a:lnTo>
                    <a:pt x="2" y="1041"/>
                  </a:lnTo>
                  <a:lnTo>
                    <a:pt x="0" y="973"/>
                  </a:lnTo>
                  <a:lnTo>
                    <a:pt x="4" y="893"/>
                  </a:lnTo>
                  <a:lnTo>
                    <a:pt x="14" y="815"/>
                  </a:lnTo>
                  <a:lnTo>
                    <a:pt x="30" y="739"/>
                  </a:lnTo>
                  <a:lnTo>
                    <a:pt x="53" y="667"/>
                  </a:lnTo>
                  <a:lnTo>
                    <a:pt x="80" y="595"/>
                  </a:lnTo>
                  <a:lnTo>
                    <a:pt x="114" y="526"/>
                  </a:lnTo>
                  <a:lnTo>
                    <a:pt x="152" y="461"/>
                  </a:lnTo>
                  <a:lnTo>
                    <a:pt x="196" y="399"/>
                  </a:lnTo>
                  <a:lnTo>
                    <a:pt x="246" y="340"/>
                  </a:lnTo>
                  <a:lnTo>
                    <a:pt x="298" y="286"/>
                  </a:lnTo>
                  <a:lnTo>
                    <a:pt x="356" y="235"/>
                  </a:lnTo>
                  <a:lnTo>
                    <a:pt x="416" y="188"/>
                  </a:lnTo>
                  <a:lnTo>
                    <a:pt x="481" y="147"/>
                  </a:lnTo>
                  <a:lnTo>
                    <a:pt x="549" y="109"/>
                  </a:lnTo>
                  <a:lnTo>
                    <a:pt x="621" y="77"/>
                  </a:lnTo>
                  <a:lnTo>
                    <a:pt x="695" y="50"/>
                  </a:lnTo>
                  <a:lnTo>
                    <a:pt x="771" y="29"/>
                  </a:lnTo>
                  <a:lnTo>
                    <a:pt x="850" y="13"/>
                  </a:lnTo>
                  <a:lnTo>
                    <a:pt x="932" y="3"/>
                  </a:lnTo>
                  <a:lnTo>
                    <a:pt x="101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 panose="020B0502020104020203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0" name="Freeform 123">
              <a:extLst>
                <a:ext uri="{FF2B5EF4-FFF2-40B4-BE49-F238E27FC236}">
                  <a16:creationId xmlns:a16="http://schemas.microsoft.com/office/drawing/2014/main" id="{01D1ED6F-C9A3-B87A-2005-2E73C10EA720}"/>
                </a:ext>
              </a:extLst>
            </p:cNvPr>
            <p:cNvSpPr>
              <a:spLocks/>
            </p:cNvSpPr>
            <p:nvPr/>
          </p:nvSpPr>
          <p:spPr bwMode="auto">
            <a:xfrm>
              <a:off x="800101" y="2925763"/>
              <a:ext cx="19050" cy="46038"/>
            </a:xfrm>
            <a:custGeom>
              <a:avLst/>
              <a:gdLst>
                <a:gd name="T0" fmla="*/ 63 w 127"/>
                <a:gd name="T1" fmla="*/ 0 h 318"/>
                <a:gd name="T2" fmla="*/ 63 w 127"/>
                <a:gd name="T3" fmla="*/ 0 h 318"/>
                <a:gd name="T4" fmla="*/ 80 w 127"/>
                <a:gd name="T5" fmla="*/ 2 h 318"/>
                <a:gd name="T6" fmla="*/ 96 w 127"/>
                <a:gd name="T7" fmla="*/ 9 h 318"/>
                <a:gd name="T8" fmla="*/ 109 w 127"/>
                <a:gd name="T9" fmla="*/ 19 h 318"/>
                <a:gd name="T10" fmla="*/ 119 w 127"/>
                <a:gd name="T11" fmla="*/ 32 h 318"/>
                <a:gd name="T12" fmla="*/ 125 w 127"/>
                <a:gd name="T13" fmla="*/ 47 h 318"/>
                <a:gd name="T14" fmla="*/ 127 w 127"/>
                <a:gd name="T15" fmla="*/ 64 h 318"/>
                <a:gd name="T16" fmla="*/ 127 w 127"/>
                <a:gd name="T17" fmla="*/ 254 h 318"/>
                <a:gd name="T18" fmla="*/ 125 w 127"/>
                <a:gd name="T19" fmla="*/ 272 h 318"/>
                <a:gd name="T20" fmla="*/ 119 w 127"/>
                <a:gd name="T21" fmla="*/ 286 h 318"/>
                <a:gd name="T22" fmla="*/ 109 w 127"/>
                <a:gd name="T23" fmla="*/ 300 h 318"/>
                <a:gd name="T24" fmla="*/ 96 w 127"/>
                <a:gd name="T25" fmla="*/ 309 h 318"/>
                <a:gd name="T26" fmla="*/ 80 w 127"/>
                <a:gd name="T27" fmla="*/ 315 h 318"/>
                <a:gd name="T28" fmla="*/ 63 w 127"/>
                <a:gd name="T29" fmla="*/ 318 h 318"/>
                <a:gd name="T30" fmla="*/ 47 w 127"/>
                <a:gd name="T31" fmla="*/ 315 h 318"/>
                <a:gd name="T32" fmla="*/ 31 w 127"/>
                <a:gd name="T33" fmla="*/ 309 h 318"/>
                <a:gd name="T34" fmla="*/ 18 w 127"/>
                <a:gd name="T35" fmla="*/ 300 h 318"/>
                <a:gd name="T36" fmla="*/ 8 w 127"/>
                <a:gd name="T37" fmla="*/ 286 h 318"/>
                <a:gd name="T38" fmla="*/ 2 w 127"/>
                <a:gd name="T39" fmla="*/ 272 h 318"/>
                <a:gd name="T40" fmla="*/ 0 w 127"/>
                <a:gd name="T41" fmla="*/ 254 h 318"/>
                <a:gd name="T42" fmla="*/ 0 w 127"/>
                <a:gd name="T43" fmla="*/ 64 h 318"/>
                <a:gd name="T44" fmla="*/ 2 w 127"/>
                <a:gd name="T45" fmla="*/ 47 h 318"/>
                <a:gd name="T46" fmla="*/ 8 w 127"/>
                <a:gd name="T47" fmla="*/ 32 h 318"/>
                <a:gd name="T48" fmla="*/ 18 w 127"/>
                <a:gd name="T49" fmla="*/ 19 h 318"/>
                <a:gd name="T50" fmla="*/ 31 w 127"/>
                <a:gd name="T51" fmla="*/ 9 h 318"/>
                <a:gd name="T52" fmla="*/ 47 w 127"/>
                <a:gd name="T53" fmla="*/ 2 h 318"/>
                <a:gd name="T54" fmla="*/ 63 w 127"/>
                <a:gd name="T55" fmla="*/ 0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27" h="318">
                  <a:moveTo>
                    <a:pt x="63" y="0"/>
                  </a:moveTo>
                  <a:lnTo>
                    <a:pt x="63" y="0"/>
                  </a:lnTo>
                  <a:lnTo>
                    <a:pt x="80" y="2"/>
                  </a:lnTo>
                  <a:lnTo>
                    <a:pt x="96" y="9"/>
                  </a:lnTo>
                  <a:lnTo>
                    <a:pt x="109" y="19"/>
                  </a:lnTo>
                  <a:lnTo>
                    <a:pt x="119" y="32"/>
                  </a:lnTo>
                  <a:lnTo>
                    <a:pt x="125" y="47"/>
                  </a:lnTo>
                  <a:lnTo>
                    <a:pt x="127" y="64"/>
                  </a:lnTo>
                  <a:lnTo>
                    <a:pt x="127" y="254"/>
                  </a:lnTo>
                  <a:lnTo>
                    <a:pt x="125" y="272"/>
                  </a:lnTo>
                  <a:lnTo>
                    <a:pt x="119" y="286"/>
                  </a:lnTo>
                  <a:lnTo>
                    <a:pt x="109" y="300"/>
                  </a:lnTo>
                  <a:lnTo>
                    <a:pt x="96" y="309"/>
                  </a:lnTo>
                  <a:lnTo>
                    <a:pt x="80" y="315"/>
                  </a:lnTo>
                  <a:lnTo>
                    <a:pt x="63" y="318"/>
                  </a:lnTo>
                  <a:lnTo>
                    <a:pt x="47" y="315"/>
                  </a:lnTo>
                  <a:lnTo>
                    <a:pt x="31" y="309"/>
                  </a:lnTo>
                  <a:lnTo>
                    <a:pt x="18" y="300"/>
                  </a:lnTo>
                  <a:lnTo>
                    <a:pt x="8" y="286"/>
                  </a:lnTo>
                  <a:lnTo>
                    <a:pt x="2" y="272"/>
                  </a:lnTo>
                  <a:lnTo>
                    <a:pt x="0" y="254"/>
                  </a:lnTo>
                  <a:lnTo>
                    <a:pt x="0" y="64"/>
                  </a:lnTo>
                  <a:lnTo>
                    <a:pt x="2" y="47"/>
                  </a:lnTo>
                  <a:lnTo>
                    <a:pt x="8" y="32"/>
                  </a:lnTo>
                  <a:lnTo>
                    <a:pt x="18" y="19"/>
                  </a:lnTo>
                  <a:lnTo>
                    <a:pt x="31" y="9"/>
                  </a:lnTo>
                  <a:lnTo>
                    <a:pt x="47" y="2"/>
                  </a:lnTo>
                  <a:lnTo>
                    <a:pt x="6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 panose="020B0502020104020203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1" name="Freeform 124">
              <a:extLst>
                <a:ext uri="{FF2B5EF4-FFF2-40B4-BE49-F238E27FC236}">
                  <a16:creationId xmlns:a16="http://schemas.microsoft.com/office/drawing/2014/main" id="{45C06AE4-9F35-C6F4-04D6-59A3B2C91723}"/>
                </a:ext>
              </a:extLst>
            </p:cNvPr>
            <p:cNvSpPr>
              <a:spLocks/>
            </p:cNvSpPr>
            <p:nvPr/>
          </p:nvSpPr>
          <p:spPr bwMode="auto">
            <a:xfrm>
              <a:off x="696913" y="2954338"/>
              <a:ext cx="31750" cy="41275"/>
            </a:xfrm>
            <a:custGeom>
              <a:avLst/>
              <a:gdLst>
                <a:gd name="T0" fmla="*/ 64 w 224"/>
                <a:gd name="T1" fmla="*/ 0 h 293"/>
                <a:gd name="T2" fmla="*/ 80 w 224"/>
                <a:gd name="T3" fmla="*/ 2 h 293"/>
                <a:gd name="T4" fmla="*/ 95 w 224"/>
                <a:gd name="T5" fmla="*/ 8 h 293"/>
                <a:gd name="T6" fmla="*/ 109 w 224"/>
                <a:gd name="T7" fmla="*/ 18 h 293"/>
                <a:gd name="T8" fmla="*/ 119 w 224"/>
                <a:gd name="T9" fmla="*/ 32 h 293"/>
                <a:gd name="T10" fmla="*/ 216 w 224"/>
                <a:gd name="T11" fmla="*/ 197 h 293"/>
                <a:gd name="T12" fmla="*/ 222 w 224"/>
                <a:gd name="T13" fmla="*/ 213 h 293"/>
                <a:gd name="T14" fmla="*/ 224 w 224"/>
                <a:gd name="T15" fmla="*/ 230 h 293"/>
                <a:gd name="T16" fmla="*/ 222 w 224"/>
                <a:gd name="T17" fmla="*/ 245 h 293"/>
                <a:gd name="T18" fmla="*/ 216 w 224"/>
                <a:gd name="T19" fmla="*/ 261 h 293"/>
                <a:gd name="T20" fmla="*/ 206 w 224"/>
                <a:gd name="T21" fmla="*/ 274 h 293"/>
                <a:gd name="T22" fmla="*/ 193 w 224"/>
                <a:gd name="T23" fmla="*/ 285 h 293"/>
                <a:gd name="T24" fmla="*/ 177 w 224"/>
                <a:gd name="T25" fmla="*/ 291 h 293"/>
                <a:gd name="T26" fmla="*/ 160 w 224"/>
                <a:gd name="T27" fmla="*/ 293 h 293"/>
                <a:gd name="T28" fmla="*/ 143 w 224"/>
                <a:gd name="T29" fmla="*/ 291 h 293"/>
                <a:gd name="T30" fmla="*/ 129 w 224"/>
                <a:gd name="T31" fmla="*/ 285 h 293"/>
                <a:gd name="T32" fmla="*/ 115 w 224"/>
                <a:gd name="T33" fmla="*/ 274 h 293"/>
                <a:gd name="T34" fmla="*/ 105 w 224"/>
                <a:gd name="T35" fmla="*/ 261 h 293"/>
                <a:gd name="T36" fmla="*/ 8 w 224"/>
                <a:gd name="T37" fmla="*/ 95 h 293"/>
                <a:gd name="T38" fmla="*/ 2 w 224"/>
                <a:gd name="T39" fmla="*/ 80 h 293"/>
                <a:gd name="T40" fmla="*/ 0 w 224"/>
                <a:gd name="T41" fmla="*/ 63 h 293"/>
                <a:gd name="T42" fmla="*/ 2 w 224"/>
                <a:gd name="T43" fmla="*/ 48 h 293"/>
                <a:gd name="T44" fmla="*/ 8 w 224"/>
                <a:gd name="T45" fmla="*/ 32 h 293"/>
                <a:gd name="T46" fmla="*/ 19 w 224"/>
                <a:gd name="T47" fmla="*/ 19 h 293"/>
                <a:gd name="T48" fmla="*/ 31 w 224"/>
                <a:gd name="T49" fmla="*/ 9 h 293"/>
                <a:gd name="T50" fmla="*/ 48 w 224"/>
                <a:gd name="T51" fmla="*/ 2 h 293"/>
                <a:gd name="T52" fmla="*/ 64 w 224"/>
                <a:gd name="T53" fmla="*/ 0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24" h="293">
                  <a:moveTo>
                    <a:pt x="64" y="0"/>
                  </a:moveTo>
                  <a:lnTo>
                    <a:pt x="80" y="2"/>
                  </a:lnTo>
                  <a:lnTo>
                    <a:pt x="95" y="8"/>
                  </a:lnTo>
                  <a:lnTo>
                    <a:pt x="109" y="18"/>
                  </a:lnTo>
                  <a:lnTo>
                    <a:pt x="119" y="32"/>
                  </a:lnTo>
                  <a:lnTo>
                    <a:pt x="216" y="197"/>
                  </a:lnTo>
                  <a:lnTo>
                    <a:pt x="222" y="213"/>
                  </a:lnTo>
                  <a:lnTo>
                    <a:pt x="224" y="230"/>
                  </a:lnTo>
                  <a:lnTo>
                    <a:pt x="222" y="245"/>
                  </a:lnTo>
                  <a:lnTo>
                    <a:pt x="216" y="261"/>
                  </a:lnTo>
                  <a:lnTo>
                    <a:pt x="206" y="274"/>
                  </a:lnTo>
                  <a:lnTo>
                    <a:pt x="193" y="285"/>
                  </a:lnTo>
                  <a:lnTo>
                    <a:pt x="177" y="291"/>
                  </a:lnTo>
                  <a:lnTo>
                    <a:pt x="160" y="293"/>
                  </a:lnTo>
                  <a:lnTo>
                    <a:pt x="143" y="291"/>
                  </a:lnTo>
                  <a:lnTo>
                    <a:pt x="129" y="285"/>
                  </a:lnTo>
                  <a:lnTo>
                    <a:pt x="115" y="274"/>
                  </a:lnTo>
                  <a:lnTo>
                    <a:pt x="105" y="261"/>
                  </a:lnTo>
                  <a:lnTo>
                    <a:pt x="8" y="95"/>
                  </a:lnTo>
                  <a:lnTo>
                    <a:pt x="2" y="80"/>
                  </a:lnTo>
                  <a:lnTo>
                    <a:pt x="0" y="63"/>
                  </a:lnTo>
                  <a:lnTo>
                    <a:pt x="2" y="48"/>
                  </a:lnTo>
                  <a:lnTo>
                    <a:pt x="8" y="32"/>
                  </a:lnTo>
                  <a:lnTo>
                    <a:pt x="19" y="19"/>
                  </a:lnTo>
                  <a:lnTo>
                    <a:pt x="31" y="9"/>
                  </a:lnTo>
                  <a:lnTo>
                    <a:pt x="48" y="2"/>
                  </a:lnTo>
                  <a:lnTo>
                    <a:pt x="6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 panose="020B0502020104020203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2" name="Freeform 125">
              <a:extLst>
                <a:ext uri="{FF2B5EF4-FFF2-40B4-BE49-F238E27FC236}">
                  <a16:creationId xmlns:a16="http://schemas.microsoft.com/office/drawing/2014/main" id="{C25A747A-D66E-BCD3-25F5-8D3B8F35EB72}"/>
                </a:ext>
              </a:extLst>
            </p:cNvPr>
            <p:cNvSpPr>
              <a:spLocks/>
            </p:cNvSpPr>
            <p:nvPr/>
          </p:nvSpPr>
          <p:spPr bwMode="auto">
            <a:xfrm>
              <a:off x="620713" y="3028950"/>
              <a:ext cx="41275" cy="33338"/>
            </a:xfrm>
            <a:custGeom>
              <a:avLst/>
              <a:gdLst>
                <a:gd name="T0" fmla="*/ 64 w 294"/>
                <a:gd name="T1" fmla="*/ 0 h 222"/>
                <a:gd name="T2" fmla="*/ 79 w 294"/>
                <a:gd name="T3" fmla="*/ 2 h 222"/>
                <a:gd name="T4" fmla="*/ 96 w 294"/>
                <a:gd name="T5" fmla="*/ 8 h 222"/>
                <a:gd name="T6" fmla="*/ 263 w 294"/>
                <a:gd name="T7" fmla="*/ 103 h 222"/>
                <a:gd name="T8" fmla="*/ 276 w 294"/>
                <a:gd name="T9" fmla="*/ 114 h 222"/>
                <a:gd name="T10" fmla="*/ 286 w 294"/>
                <a:gd name="T11" fmla="*/ 127 h 222"/>
                <a:gd name="T12" fmla="*/ 292 w 294"/>
                <a:gd name="T13" fmla="*/ 142 h 222"/>
                <a:gd name="T14" fmla="*/ 294 w 294"/>
                <a:gd name="T15" fmla="*/ 158 h 222"/>
                <a:gd name="T16" fmla="*/ 292 w 294"/>
                <a:gd name="T17" fmla="*/ 175 h 222"/>
                <a:gd name="T18" fmla="*/ 286 w 294"/>
                <a:gd name="T19" fmla="*/ 190 h 222"/>
                <a:gd name="T20" fmla="*/ 275 w 294"/>
                <a:gd name="T21" fmla="*/ 204 h 222"/>
                <a:gd name="T22" fmla="*/ 262 w 294"/>
                <a:gd name="T23" fmla="*/ 214 h 222"/>
                <a:gd name="T24" fmla="*/ 246 w 294"/>
                <a:gd name="T25" fmla="*/ 220 h 222"/>
                <a:gd name="T26" fmla="*/ 230 w 294"/>
                <a:gd name="T27" fmla="*/ 222 h 222"/>
                <a:gd name="T28" fmla="*/ 213 w 294"/>
                <a:gd name="T29" fmla="*/ 220 h 222"/>
                <a:gd name="T30" fmla="*/ 198 w 294"/>
                <a:gd name="T31" fmla="*/ 213 h 222"/>
                <a:gd name="T32" fmla="*/ 31 w 294"/>
                <a:gd name="T33" fmla="*/ 118 h 222"/>
                <a:gd name="T34" fmla="*/ 18 w 294"/>
                <a:gd name="T35" fmla="*/ 108 h 222"/>
                <a:gd name="T36" fmla="*/ 8 w 294"/>
                <a:gd name="T37" fmla="*/ 95 h 222"/>
                <a:gd name="T38" fmla="*/ 2 w 294"/>
                <a:gd name="T39" fmla="*/ 80 h 222"/>
                <a:gd name="T40" fmla="*/ 0 w 294"/>
                <a:gd name="T41" fmla="*/ 63 h 222"/>
                <a:gd name="T42" fmla="*/ 2 w 294"/>
                <a:gd name="T43" fmla="*/ 47 h 222"/>
                <a:gd name="T44" fmla="*/ 8 w 294"/>
                <a:gd name="T45" fmla="*/ 31 h 222"/>
                <a:gd name="T46" fmla="*/ 19 w 294"/>
                <a:gd name="T47" fmla="*/ 18 h 222"/>
                <a:gd name="T48" fmla="*/ 32 w 294"/>
                <a:gd name="T49" fmla="*/ 8 h 222"/>
                <a:gd name="T50" fmla="*/ 47 w 294"/>
                <a:gd name="T51" fmla="*/ 2 h 222"/>
                <a:gd name="T52" fmla="*/ 64 w 294"/>
                <a:gd name="T53" fmla="*/ 0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94" h="222">
                  <a:moveTo>
                    <a:pt x="64" y="0"/>
                  </a:moveTo>
                  <a:lnTo>
                    <a:pt x="79" y="2"/>
                  </a:lnTo>
                  <a:lnTo>
                    <a:pt x="96" y="8"/>
                  </a:lnTo>
                  <a:lnTo>
                    <a:pt x="263" y="103"/>
                  </a:lnTo>
                  <a:lnTo>
                    <a:pt x="276" y="114"/>
                  </a:lnTo>
                  <a:lnTo>
                    <a:pt x="286" y="127"/>
                  </a:lnTo>
                  <a:lnTo>
                    <a:pt x="292" y="142"/>
                  </a:lnTo>
                  <a:lnTo>
                    <a:pt x="294" y="158"/>
                  </a:lnTo>
                  <a:lnTo>
                    <a:pt x="292" y="175"/>
                  </a:lnTo>
                  <a:lnTo>
                    <a:pt x="286" y="190"/>
                  </a:lnTo>
                  <a:lnTo>
                    <a:pt x="275" y="204"/>
                  </a:lnTo>
                  <a:lnTo>
                    <a:pt x="262" y="214"/>
                  </a:lnTo>
                  <a:lnTo>
                    <a:pt x="246" y="220"/>
                  </a:lnTo>
                  <a:lnTo>
                    <a:pt x="230" y="222"/>
                  </a:lnTo>
                  <a:lnTo>
                    <a:pt x="213" y="220"/>
                  </a:lnTo>
                  <a:lnTo>
                    <a:pt x="198" y="213"/>
                  </a:lnTo>
                  <a:lnTo>
                    <a:pt x="31" y="118"/>
                  </a:lnTo>
                  <a:lnTo>
                    <a:pt x="18" y="108"/>
                  </a:lnTo>
                  <a:lnTo>
                    <a:pt x="8" y="95"/>
                  </a:lnTo>
                  <a:lnTo>
                    <a:pt x="2" y="80"/>
                  </a:lnTo>
                  <a:lnTo>
                    <a:pt x="0" y="63"/>
                  </a:lnTo>
                  <a:lnTo>
                    <a:pt x="2" y="47"/>
                  </a:lnTo>
                  <a:lnTo>
                    <a:pt x="8" y="31"/>
                  </a:lnTo>
                  <a:lnTo>
                    <a:pt x="19" y="18"/>
                  </a:lnTo>
                  <a:lnTo>
                    <a:pt x="32" y="8"/>
                  </a:lnTo>
                  <a:lnTo>
                    <a:pt x="47" y="2"/>
                  </a:lnTo>
                  <a:lnTo>
                    <a:pt x="6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 panose="020B0502020104020203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3" name="Freeform 126">
              <a:extLst>
                <a:ext uri="{FF2B5EF4-FFF2-40B4-BE49-F238E27FC236}">
                  <a16:creationId xmlns:a16="http://schemas.microsoft.com/office/drawing/2014/main" id="{44CD7113-0F4F-E8C4-85E3-6AA1C293ABE3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138" y="3132138"/>
              <a:ext cx="46038" cy="19050"/>
            </a:xfrm>
            <a:custGeom>
              <a:avLst/>
              <a:gdLst>
                <a:gd name="T0" fmla="*/ 64 w 321"/>
                <a:gd name="T1" fmla="*/ 0 h 128"/>
                <a:gd name="T2" fmla="*/ 257 w 321"/>
                <a:gd name="T3" fmla="*/ 0 h 128"/>
                <a:gd name="T4" fmla="*/ 273 w 321"/>
                <a:gd name="T5" fmla="*/ 4 h 128"/>
                <a:gd name="T6" fmla="*/ 289 w 321"/>
                <a:gd name="T7" fmla="*/ 10 h 128"/>
                <a:gd name="T8" fmla="*/ 302 w 321"/>
                <a:gd name="T9" fmla="*/ 19 h 128"/>
                <a:gd name="T10" fmla="*/ 312 w 321"/>
                <a:gd name="T11" fmla="*/ 33 h 128"/>
                <a:gd name="T12" fmla="*/ 318 w 321"/>
                <a:gd name="T13" fmla="*/ 47 h 128"/>
                <a:gd name="T14" fmla="*/ 321 w 321"/>
                <a:gd name="T15" fmla="*/ 65 h 128"/>
                <a:gd name="T16" fmla="*/ 318 w 321"/>
                <a:gd name="T17" fmla="*/ 82 h 128"/>
                <a:gd name="T18" fmla="*/ 312 w 321"/>
                <a:gd name="T19" fmla="*/ 96 h 128"/>
                <a:gd name="T20" fmla="*/ 302 w 321"/>
                <a:gd name="T21" fmla="*/ 110 h 128"/>
                <a:gd name="T22" fmla="*/ 289 w 321"/>
                <a:gd name="T23" fmla="*/ 119 h 128"/>
                <a:gd name="T24" fmla="*/ 273 w 321"/>
                <a:gd name="T25" fmla="*/ 126 h 128"/>
                <a:gd name="T26" fmla="*/ 257 w 321"/>
                <a:gd name="T27" fmla="*/ 128 h 128"/>
                <a:gd name="T28" fmla="*/ 64 w 321"/>
                <a:gd name="T29" fmla="*/ 128 h 128"/>
                <a:gd name="T30" fmla="*/ 47 w 321"/>
                <a:gd name="T31" fmla="*/ 126 h 128"/>
                <a:gd name="T32" fmla="*/ 32 w 321"/>
                <a:gd name="T33" fmla="*/ 119 h 128"/>
                <a:gd name="T34" fmla="*/ 19 w 321"/>
                <a:gd name="T35" fmla="*/ 110 h 128"/>
                <a:gd name="T36" fmla="*/ 9 w 321"/>
                <a:gd name="T37" fmla="*/ 96 h 128"/>
                <a:gd name="T38" fmla="*/ 2 w 321"/>
                <a:gd name="T39" fmla="*/ 82 h 128"/>
                <a:gd name="T40" fmla="*/ 0 w 321"/>
                <a:gd name="T41" fmla="*/ 65 h 128"/>
                <a:gd name="T42" fmla="*/ 2 w 321"/>
                <a:gd name="T43" fmla="*/ 47 h 128"/>
                <a:gd name="T44" fmla="*/ 9 w 321"/>
                <a:gd name="T45" fmla="*/ 33 h 128"/>
                <a:gd name="T46" fmla="*/ 19 w 321"/>
                <a:gd name="T47" fmla="*/ 19 h 128"/>
                <a:gd name="T48" fmla="*/ 32 w 321"/>
                <a:gd name="T49" fmla="*/ 10 h 128"/>
                <a:gd name="T50" fmla="*/ 47 w 321"/>
                <a:gd name="T51" fmla="*/ 4 h 128"/>
                <a:gd name="T52" fmla="*/ 64 w 321"/>
                <a:gd name="T53" fmla="*/ 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21" h="128">
                  <a:moveTo>
                    <a:pt x="64" y="0"/>
                  </a:moveTo>
                  <a:lnTo>
                    <a:pt x="257" y="0"/>
                  </a:lnTo>
                  <a:lnTo>
                    <a:pt x="273" y="4"/>
                  </a:lnTo>
                  <a:lnTo>
                    <a:pt x="289" y="10"/>
                  </a:lnTo>
                  <a:lnTo>
                    <a:pt x="302" y="19"/>
                  </a:lnTo>
                  <a:lnTo>
                    <a:pt x="312" y="33"/>
                  </a:lnTo>
                  <a:lnTo>
                    <a:pt x="318" y="47"/>
                  </a:lnTo>
                  <a:lnTo>
                    <a:pt x="321" y="65"/>
                  </a:lnTo>
                  <a:lnTo>
                    <a:pt x="318" y="82"/>
                  </a:lnTo>
                  <a:lnTo>
                    <a:pt x="312" y="96"/>
                  </a:lnTo>
                  <a:lnTo>
                    <a:pt x="302" y="110"/>
                  </a:lnTo>
                  <a:lnTo>
                    <a:pt x="289" y="119"/>
                  </a:lnTo>
                  <a:lnTo>
                    <a:pt x="273" y="126"/>
                  </a:lnTo>
                  <a:lnTo>
                    <a:pt x="257" y="128"/>
                  </a:lnTo>
                  <a:lnTo>
                    <a:pt x="64" y="128"/>
                  </a:lnTo>
                  <a:lnTo>
                    <a:pt x="47" y="126"/>
                  </a:lnTo>
                  <a:lnTo>
                    <a:pt x="32" y="119"/>
                  </a:lnTo>
                  <a:lnTo>
                    <a:pt x="19" y="110"/>
                  </a:lnTo>
                  <a:lnTo>
                    <a:pt x="9" y="96"/>
                  </a:lnTo>
                  <a:lnTo>
                    <a:pt x="2" y="82"/>
                  </a:lnTo>
                  <a:lnTo>
                    <a:pt x="0" y="65"/>
                  </a:lnTo>
                  <a:lnTo>
                    <a:pt x="2" y="47"/>
                  </a:lnTo>
                  <a:lnTo>
                    <a:pt x="9" y="33"/>
                  </a:lnTo>
                  <a:lnTo>
                    <a:pt x="19" y="19"/>
                  </a:lnTo>
                  <a:lnTo>
                    <a:pt x="32" y="10"/>
                  </a:lnTo>
                  <a:lnTo>
                    <a:pt x="47" y="4"/>
                  </a:lnTo>
                  <a:lnTo>
                    <a:pt x="6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 panose="020B0502020104020203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4" name="Freeform 127">
              <a:extLst>
                <a:ext uri="{FF2B5EF4-FFF2-40B4-BE49-F238E27FC236}">
                  <a16:creationId xmlns:a16="http://schemas.microsoft.com/office/drawing/2014/main" id="{05B61A88-7247-EF83-A4D5-7937ED1E627B}"/>
                </a:ext>
              </a:extLst>
            </p:cNvPr>
            <p:cNvSpPr>
              <a:spLocks/>
            </p:cNvSpPr>
            <p:nvPr/>
          </p:nvSpPr>
          <p:spPr bwMode="auto">
            <a:xfrm>
              <a:off x="620713" y="3222625"/>
              <a:ext cx="41275" cy="31750"/>
            </a:xfrm>
            <a:custGeom>
              <a:avLst/>
              <a:gdLst>
                <a:gd name="T0" fmla="*/ 230 w 294"/>
                <a:gd name="T1" fmla="*/ 0 h 224"/>
                <a:gd name="T2" fmla="*/ 247 w 294"/>
                <a:gd name="T3" fmla="*/ 3 h 224"/>
                <a:gd name="T4" fmla="*/ 262 w 294"/>
                <a:gd name="T5" fmla="*/ 9 h 224"/>
                <a:gd name="T6" fmla="*/ 275 w 294"/>
                <a:gd name="T7" fmla="*/ 19 h 224"/>
                <a:gd name="T8" fmla="*/ 286 w 294"/>
                <a:gd name="T9" fmla="*/ 33 h 224"/>
                <a:gd name="T10" fmla="*/ 292 w 294"/>
                <a:gd name="T11" fmla="*/ 48 h 224"/>
                <a:gd name="T12" fmla="*/ 294 w 294"/>
                <a:gd name="T13" fmla="*/ 65 h 224"/>
                <a:gd name="T14" fmla="*/ 292 w 294"/>
                <a:gd name="T15" fmla="*/ 80 h 224"/>
                <a:gd name="T16" fmla="*/ 286 w 294"/>
                <a:gd name="T17" fmla="*/ 96 h 224"/>
                <a:gd name="T18" fmla="*/ 275 w 294"/>
                <a:gd name="T19" fmla="*/ 110 h 224"/>
                <a:gd name="T20" fmla="*/ 263 w 294"/>
                <a:gd name="T21" fmla="*/ 120 h 224"/>
                <a:gd name="T22" fmla="*/ 96 w 294"/>
                <a:gd name="T23" fmla="*/ 215 h 224"/>
                <a:gd name="T24" fmla="*/ 80 w 294"/>
                <a:gd name="T25" fmla="*/ 221 h 224"/>
                <a:gd name="T26" fmla="*/ 64 w 294"/>
                <a:gd name="T27" fmla="*/ 224 h 224"/>
                <a:gd name="T28" fmla="*/ 47 w 294"/>
                <a:gd name="T29" fmla="*/ 221 h 224"/>
                <a:gd name="T30" fmla="*/ 32 w 294"/>
                <a:gd name="T31" fmla="*/ 216 h 224"/>
                <a:gd name="T32" fmla="*/ 19 w 294"/>
                <a:gd name="T33" fmla="*/ 205 h 224"/>
                <a:gd name="T34" fmla="*/ 8 w 294"/>
                <a:gd name="T35" fmla="*/ 192 h 224"/>
                <a:gd name="T36" fmla="*/ 2 w 294"/>
                <a:gd name="T37" fmla="*/ 176 h 224"/>
                <a:gd name="T38" fmla="*/ 0 w 294"/>
                <a:gd name="T39" fmla="*/ 159 h 224"/>
                <a:gd name="T40" fmla="*/ 2 w 294"/>
                <a:gd name="T41" fmla="*/ 144 h 224"/>
                <a:gd name="T42" fmla="*/ 8 w 294"/>
                <a:gd name="T43" fmla="*/ 128 h 224"/>
                <a:gd name="T44" fmla="*/ 18 w 294"/>
                <a:gd name="T45" fmla="*/ 116 h 224"/>
                <a:gd name="T46" fmla="*/ 31 w 294"/>
                <a:gd name="T47" fmla="*/ 105 h 224"/>
                <a:gd name="T48" fmla="*/ 198 w 294"/>
                <a:gd name="T49" fmla="*/ 10 h 224"/>
                <a:gd name="T50" fmla="*/ 215 w 294"/>
                <a:gd name="T51" fmla="*/ 2 h 224"/>
                <a:gd name="T52" fmla="*/ 230 w 294"/>
                <a:gd name="T53" fmla="*/ 0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94" h="224">
                  <a:moveTo>
                    <a:pt x="230" y="0"/>
                  </a:moveTo>
                  <a:lnTo>
                    <a:pt x="247" y="3"/>
                  </a:lnTo>
                  <a:lnTo>
                    <a:pt x="262" y="9"/>
                  </a:lnTo>
                  <a:lnTo>
                    <a:pt x="275" y="19"/>
                  </a:lnTo>
                  <a:lnTo>
                    <a:pt x="286" y="33"/>
                  </a:lnTo>
                  <a:lnTo>
                    <a:pt x="292" y="48"/>
                  </a:lnTo>
                  <a:lnTo>
                    <a:pt x="294" y="65"/>
                  </a:lnTo>
                  <a:lnTo>
                    <a:pt x="292" y="80"/>
                  </a:lnTo>
                  <a:lnTo>
                    <a:pt x="286" y="96"/>
                  </a:lnTo>
                  <a:lnTo>
                    <a:pt x="275" y="110"/>
                  </a:lnTo>
                  <a:lnTo>
                    <a:pt x="263" y="120"/>
                  </a:lnTo>
                  <a:lnTo>
                    <a:pt x="96" y="215"/>
                  </a:lnTo>
                  <a:lnTo>
                    <a:pt x="80" y="221"/>
                  </a:lnTo>
                  <a:lnTo>
                    <a:pt x="64" y="224"/>
                  </a:lnTo>
                  <a:lnTo>
                    <a:pt x="47" y="221"/>
                  </a:lnTo>
                  <a:lnTo>
                    <a:pt x="32" y="216"/>
                  </a:lnTo>
                  <a:lnTo>
                    <a:pt x="19" y="205"/>
                  </a:lnTo>
                  <a:lnTo>
                    <a:pt x="8" y="192"/>
                  </a:lnTo>
                  <a:lnTo>
                    <a:pt x="2" y="176"/>
                  </a:lnTo>
                  <a:lnTo>
                    <a:pt x="0" y="159"/>
                  </a:lnTo>
                  <a:lnTo>
                    <a:pt x="2" y="144"/>
                  </a:lnTo>
                  <a:lnTo>
                    <a:pt x="8" y="128"/>
                  </a:lnTo>
                  <a:lnTo>
                    <a:pt x="18" y="116"/>
                  </a:lnTo>
                  <a:lnTo>
                    <a:pt x="31" y="105"/>
                  </a:lnTo>
                  <a:lnTo>
                    <a:pt x="198" y="10"/>
                  </a:lnTo>
                  <a:lnTo>
                    <a:pt x="215" y="2"/>
                  </a:lnTo>
                  <a:lnTo>
                    <a:pt x="23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 panose="020B0502020104020203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5" name="Freeform 128">
              <a:extLst>
                <a:ext uri="{FF2B5EF4-FFF2-40B4-BE49-F238E27FC236}">
                  <a16:creationId xmlns:a16="http://schemas.microsoft.com/office/drawing/2014/main" id="{B95D1F1F-F994-AA10-74EC-053FA3BEC269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263" y="3222625"/>
              <a:ext cx="41275" cy="31750"/>
            </a:xfrm>
            <a:custGeom>
              <a:avLst/>
              <a:gdLst>
                <a:gd name="T0" fmla="*/ 64 w 294"/>
                <a:gd name="T1" fmla="*/ 0 h 224"/>
                <a:gd name="T2" fmla="*/ 80 w 294"/>
                <a:gd name="T3" fmla="*/ 2 h 224"/>
                <a:gd name="T4" fmla="*/ 96 w 294"/>
                <a:gd name="T5" fmla="*/ 10 h 224"/>
                <a:gd name="T6" fmla="*/ 263 w 294"/>
                <a:gd name="T7" fmla="*/ 105 h 224"/>
                <a:gd name="T8" fmla="*/ 276 w 294"/>
                <a:gd name="T9" fmla="*/ 116 h 224"/>
                <a:gd name="T10" fmla="*/ 286 w 294"/>
                <a:gd name="T11" fmla="*/ 128 h 224"/>
                <a:gd name="T12" fmla="*/ 292 w 294"/>
                <a:gd name="T13" fmla="*/ 144 h 224"/>
                <a:gd name="T14" fmla="*/ 294 w 294"/>
                <a:gd name="T15" fmla="*/ 159 h 224"/>
                <a:gd name="T16" fmla="*/ 292 w 294"/>
                <a:gd name="T17" fmla="*/ 176 h 224"/>
                <a:gd name="T18" fmla="*/ 286 w 294"/>
                <a:gd name="T19" fmla="*/ 192 h 224"/>
                <a:gd name="T20" fmla="*/ 275 w 294"/>
                <a:gd name="T21" fmla="*/ 205 h 224"/>
                <a:gd name="T22" fmla="*/ 262 w 294"/>
                <a:gd name="T23" fmla="*/ 216 h 224"/>
                <a:gd name="T24" fmla="*/ 247 w 294"/>
                <a:gd name="T25" fmla="*/ 221 h 224"/>
                <a:gd name="T26" fmla="*/ 230 w 294"/>
                <a:gd name="T27" fmla="*/ 224 h 224"/>
                <a:gd name="T28" fmla="*/ 214 w 294"/>
                <a:gd name="T29" fmla="*/ 221 h 224"/>
                <a:gd name="T30" fmla="*/ 198 w 294"/>
                <a:gd name="T31" fmla="*/ 215 h 224"/>
                <a:gd name="T32" fmla="*/ 31 w 294"/>
                <a:gd name="T33" fmla="*/ 120 h 224"/>
                <a:gd name="T34" fmla="*/ 19 w 294"/>
                <a:gd name="T35" fmla="*/ 110 h 224"/>
                <a:gd name="T36" fmla="*/ 8 w 294"/>
                <a:gd name="T37" fmla="*/ 96 h 224"/>
                <a:gd name="T38" fmla="*/ 2 w 294"/>
                <a:gd name="T39" fmla="*/ 80 h 224"/>
                <a:gd name="T40" fmla="*/ 0 w 294"/>
                <a:gd name="T41" fmla="*/ 65 h 224"/>
                <a:gd name="T42" fmla="*/ 2 w 294"/>
                <a:gd name="T43" fmla="*/ 48 h 224"/>
                <a:gd name="T44" fmla="*/ 8 w 294"/>
                <a:gd name="T45" fmla="*/ 33 h 224"/>
                <a:gd name="T46" fmla="*/ 19 w 294"/>
                <a:gd name="T47" fmla="*/ 19 h 224"/>
                <a:gd name="T48" fmla="*/ 32 w 294"/>
                <a:gd name="T49" fmla="*/ 9 h 224"/>
                <a:gd name="T50" fmla="*/ 47 w 294"/>
                <a:gd name="T51" fmla="*/ 3 h 224"/>
                <a:gd name="T52" fmla="*/ 64 w 294"/>
                <a:gd name="T53" fmla="*/ 0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94" h="224">
                  <a:moveTo>
                    <a:pt x="64" y="0"/>
                  </a:moveTo>
                  <a:lnTo>
                    <a:pt x="80" y="2"/>
                  </a:lnTo>
                  <a:lnTo>
                    <a:pt x="96" y="10"/>
                  </a:lnTo>
                  <a:lnTo>
                    <a:pt x="263" y="105"/>
                  </a:lnTo>
                  <a:lnTo>
                    <a:pt x="276" y="116"/>
                  </a:lnTo>
                  <a:lnTo>
                    <a:pt x="286" y="128"/>
                  </a:lnTo>
                  <a:lnTo>
                    <a:pt x="292" y="144"/>
                  </a:lnTo>
                  <a:lnTo>
                    <a:pt x="294" y="159"/>
                  </a:lnTo>
                  <a:lnTo>
                    <a:pt x="292" y="176"/>
                  </a:lnTo>
                  <a:lnTo>
                    <a:pt x="286" y="192"/>
                  </a:lnTo>
                  <a:lnTo>
                    <a:pt x="275" y="205"/>
                  </a:lnTo>
                  <a:lnTo>
                    <a:pt x="262" y="216"/>
                  </a:lnTo>
                  <a:lnTo>
                    <a:pt x="247" y="221"/>
                  </a:lnTo>
                  <a:lnTo>
                    <a:pt x="230" y="224"/>
                  </a:lnTo>
                  <a:lnTo>
                    <a:pt x="214" y="221"/>
                  </a:lnTo>
                  <a:lnTo>
                    <a:pt x="198" y="215"/>
                  </a:lnTo>
                  <a:lnTo>
                    <a:pt x="31" y="120"/>
                  </a:lnTo>
                  <a:lnTo>
                    <a:pt x="19" y="110"/>
                  </a:lnTo>
                  <a:lnTo>
                    <a:pt x="8" y="96"/>
                  </a:lnTo>
                  <a:lnTo>
                    <a:pt x="2" y="80"/>
                  </a:lnTo>
                  <a:lnTo>
                    <a:pt x="0" y="65"/>
                  </a:lnTo>
                  <a:lnTo>
                    <a:pt x="2" y="48"/>
                  </a:lnTo>
                  <a:lnTo>
                    <a:pt x="8" y="33"/>
                  </a:lnTo>
                  <a:lnTo>
                    <a:pt x="19" y="19"/>
                  </a:lnTo>
                  <a:lnTo>
                    <a:pt x="32" y="9"/>
                  </a:lnTo>
                  <a:lnTo>
                    <a:pt x="47" y="3"/>
                  </a:lnTo>
                  <a:lnTo>
                    <a:pt x="6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 panose="020B0502020104020203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6" name="Freeform 129">
              <a:extLst>
                <a:ext uri="{FF2B5EF4-FFF2-40B4-BE49-F238E27FC236}">
                  <a16:creationId xmlns:a16="http://schemas.microsoft.com/office/drawing/2014/main" id="{27A00ECE-4268-DB51-0797-FD8F7CC4C2DE}"/>
                </a:ext>
              </a:extLst>
            </p:cNvPr>
            <p:cNvSpPr>
              <a:spLocks/>
            </p:cNvSpPr>
            <p:nvPr/>
          </p:nvSpPr>
          <p:spPr bwMode="auto">
            <a:xfrm>
              <a:off x="981076" y="3132138"/>
              <a:ext cx="46038" cy="19050"/>
            </a:xfrm>
            <a:custGeom>
              <a:avLst/>
              <a:gdLst>
                <a:gd name="T0" fmla="*/ 64 w 321"/>
                <a:gd name="T1" fmla="*/ 0 h 128"/>
                <a:gd name="T2" fmla="*/ 257 w 321"/>
                <a:gd name="T3" fmla="*/ 0 h 128"/>
                <a:gd name="T4" fmla="*/ 274 w 321"/>
                <a:gd name="T5" fmla="*/ 4 h 128"/>
                <a:gd name="T6" fmla="*/ 290 w 321"/>
                <a:gd name="T7" fmla="*/ 10 h 128"/>
                <a:gd name="T8" fmla="*/ 302 w 321"/>
                <a:gd name="T9" fmla="*/ 19 h 128"/>
                <a:gd name="T10" fmla="*/ 312 w 321"/>
                <a:gd name="T11" fmla="*/ 33 h 128"/>
                <a:gd name="T12" fmla="*/ 319 w 321"/>
                <a:gd name="T13" fmla="*/ 47 h 128"/>
                <a:gd name="T14" fmla="*/ 321 w 321"/>
                <a:gd name="T15" fmla="*/ 65 h 128"/>
                <a:gd name="T16" fmla="*/ 319 w 321"/>
                <a:gd name="T17" fmla="*/ 82 h 128"/>
                <a:gd name="T18" fmla="*/ 312 w 321"/>
                <a:gd name="T19" fmla="*/ 96 h 128"/>
                <a:gd name="T20" fmla="*/ 302 w 321"/>
                <a:gd name="T21" fmla="*/ 110 h 128"/>
                <a:gd name="T22" fmla="*/ 290 w 321"/>
                <a:gd name="T23" fmla="*/ 119 h 128"/>
                <a:gd name="T24" fmla="*/ 274 w 321"/>
                <a:gd name="T25" fmla="*/ 126 h 128"/>
                <a:gd name="T26" fmla="*/ 257 w 321"/>
                <a:gd name="T27" fmla="*/ 128 h 128"/>
                <a:gd name="T28" fmla="*/ 64 w 321"/>
                <a:gd name="T29" fmla="*/ 128 h 128"/>
                <a:gd name="T30" fmla="*/ 48 w 321"/>
                <a:gd name="T31" fmla="*/ 126 h 128"/>
                <a:gd name="T32" fmla="*/ 32 w 321"/>
                <a:gd name="T33" fmla="*/ 119 h 128"/>
                <a:gd name="T34" fmla="*/ 19 w 321"/>
                <a:gd name="T35" fmla="*/ 110 h 128"/>
                <a:gd name="T36" fmla="*/ 9 w 321"/>
                <a:gd name="T37" fmla="*/ 96 h 128"/>
                <a:gd name="T38" fmla="*/ 3 w 321"/>
                <a:gd name="T39" fmla="*/ 82 h 128"/>
                <a:gd name="T40" fmla="*/ 0 w 321"/>
                <a:gd name="T41" fmla="*/ 65 h 128"/>
                <a:gd name="T42" fmla="*/ 3 w 321"/>
                <a:gd name="T43" fmla="*/ 47 h 128"/>
                <a:gd name="T44" fmla="*/ 9 w 321"/>
                <a:gd name="T45" fmla="*/ 33 h 128"/>
                <a:gd name="T46" fmla="*/ 19 w 321"/>
                <a:gd name="T47" fmla="*/ 19 h 128"/>
                <a:gd name="T48" fmla="*/ 32 w 321"/>
                <a:gd name="T49" fmla="*/ 10 h 128"/>
                <a:gd name="T50" fmla="*/ 48 w 321"/>
                <a:gd name="T51" fmla="*/ 4 h 128"/>
                <a:gd name="T52" fmla="*/ 64 w 321"/>
                <a:gd name="T53" fmla="*/ 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21" h="128">
                  <a:moveTo>
                    <a:pt x="64" y="0"/>
                  </a:moveTo>
                  <a:lnTo>
                    <a:pt x="257" y="0"/>
                  </a:lnTo>
                  <a:lnTo>
                    <a:pt x="274" y="4"/>
                  </a:lnTo>
                  <a:lnTo>
                    <a:pt x="290" y="10"/>
                  </a:lnTo>
                  <a:lnTo>
                    <a:pt x="302" y="19"/>
                  </a:lnTo>
                  <a:lnTo>
                    <a:pt x="312" y="33"/>
                  </a:lnTo>
                  <a:lnTo>
                    <a:pt x="319" y="47"/>
                  </a:lnTo>
                  <a:lnTo>
                    <a:pt x="321" y="65"/>
                  </a:lnTo>
                  <a:lnTo>
                    <a:pt x="319" y="82"/>
                  </a:lnTo>
                  <a:lnTo>
                    <a:pt x="312" y="96"/>
                  </a:lnTo>
                  <a:lnTo>
                    <a:pt x="302" y="110"/>
                  </a:lnTo>
                  <a:lnTo>
                    <a:pt x="290" y="119"/>
                  </a:lnTo>
                  <a:lnTo>
                    <a:pt x="274" y="126"/>
                  </a:lnTo>
                  <a:lnTo>
                    <a:pt x="257" y="128"/>
                  </a:lnTo>
                  <a:lnTo>
                    <a:pt x="64" y="128"/>
                  </a:lnTo>
                  <a:lnTo>
                    <a:pt x="48" y="126"/>
                  </a:lnTo>
                  <a:lnTo>
                    <a:pt x="32" y="119"/>
                  </a:lnTo>
                  <a:lnTo>
                    <a:pt x="19" y="110"/>
                  </a:lnTo>
                  <a:lnTo>
                    <a:pt x="9" y="96"/>
                  </a:lnTo>
                  <a:lnTo>
                    <a:pt x="3" y="82"/>
                  </a:lnTo>
                  <a:lnTo>
                    <a:pt x="0" y="65"/>
                  </a:lnTo>
                  <a:lnTo>
                    <a:pt x="3" y="47"/>
                  </a:lnTo>
                  <a:lnTo>
                    <a:pt x="9" y="33"/>
                  </a:lnTo>
                  <a:lnTo>
                    <a:pt x="19" y="19"/>
                  </a:lnTo>
                  <a:lnTo>
                    <a:pt x="32" y="10"/>
                  </a:lnTo>
                  <a:lnTo>
                    <a:pt x="48" y="4"/>
                  </a:lnTo>
                  <a:lnTo>
                    <a:pt x="6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 panose="020B0502020104020203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7" name="Freeform 130">
              <a:extLst>
                <a:ext uri="{FF2B5EF4-FFF2-40B4-BE49-F238E27FC236}">
                  <a16:creationId xmlns:a16="http://schemas.microsoft.com/office/drawing/2014/main" id="{E7460E44-42FF-4CEA-C216-5079A0FE5A53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263" y="3028950"/>
              <a:ext cx="41275" cy="33338"/>
            </a:xfrm>
            <a:custGeom>
              <a:avLst/>
              <a:gdLst>
                <a:gd name="T0" fmla="*/ 230 w 294"/>
                <a:gd name="T1" fmla="*/ 0 h 222"/>
                <a:gd name="T2" fmla="*/ 247 w 294"/>
                <a:gd name="T3" fmla="*/ 2 h 222"/>
                <a:gd name="T4" fmla="*/ 262 w 294"/>
                <a:gd name="T5" fmla="*/ 8 h 222"/>
                <a:gd name="T6" fmla="*/ 275 w 294"/>
                <a:gd name="T7" fmla="*/ 18 h 222"/>
                <a:gd name="T8" fmla="*/ 286 w 294"/>
                <a:gd name="T9" fmla="*/ 31 h 222"/>
                <a:gd name="T10" fmla="*/ 292 w 294"/>
                <a:gd name="T11" fmla="*/ 47 h 222"/>
                <a:gd name="T12" fmla="*/ 294 w 294"/>
                <a:gd name="T13" fmla="*/ 63 h 222"/>
                <a:gd name="T14" fmla="*/ 292 w 294"/>
                <a:gd name="T15" fmla="*/ 80 h 222"/>
                <a:gd name="T16" fmla="*/ 286 w 294"/>
                <a:gd name="T17" fmla="*/ 95 h 222"/>
                <a:gd name="T18" fmla="*/ 276 w 294"/>
                <a:gd name="T19" fmla="*/ 108 h 222"/>
                <a:gd name="T20" fmla="*/ 263 w 294"/>
                <a:gd name="T21" fmla="*/ 118 h 222"/>
                <a:gd name="T22" fmla="*/ 96 w 294"/>
                <a:gd name="T23" fmla="*/ 213 h 222"/>
                <a:gd name="T24" fmla="*/ 80 w 294"/>
                <a:gd name="T25" fmla="*/ 220 h 222"/>
                <a:gd name="T26" fmla="*/ 64 w 294"/>
                <a:gd name="T27" fmla="*/ 222 h 222"/>
                <a:gd name="T28" fmla="*/ 48 w 294"/>
                <a:gd name="T29" fmla="*/ 220 h 222"/>
                <a:gd name="T30" fmla="*/ 32 w 294"/>
                <a:gd name="T31" fmla="*/ 214 h 222"/>
                <a:gd name="T32" fmla="*/ 19 w 294"/>
                <a:gd name="T33" fmla="*/ 204 h 222"/>
                <a:gd name="T34" fmla="*/ 8 w 294"/>
                <a:gd name="T35" fmla="*/ 190 h 222"/>
                <a:gd name="T36" fmla="*/ 2 w 294"/>
                <a:gd name="T37" fmla="*/ 175 h 222"/>
                <a:gd name="T38" fmla="*/ 0 w 294"/>
                <a:gd name="T39" fmla="*/ 158 h 222"/>
                <a:gd name="T40" fmla="*/ 2 w 294"/>
                <a:gd name="T41" fmla="*/ 142 h 222"/>
                <a:gd name="T42" fmla="*/ 8 w 294"/>
                <a:gd name="T43" fmla="*/ 127 h 222"/>
                <a:gd name="T44" fmla="*/ 19 w 294"/>
                <a:gd name="T45" fmla="*/ 114 h 222"/>
                <a:gd name="T46" fmla="*/ 31 w 294"/>
                <a:gd name="T47" fmla="*/ 103 h 222"/>
                <a:gd name="T48" fmla="*/ 198 w 294"/>
                <a:gd name="T49" fmla="*/ 8 h 222"/>
                <a:gd name="T50" fmla="*/ 215 w 294"/>
                <a:gd name="T51" fmla="*/ 2 h 222"/>
                <a:gd name="T52" fmla="*/ 230 w 294"/>
                <a:gd name="T53" fmla="*/ 0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94" h="222">
                  <a:moveTo>
                    <a:pt x="230" y="0"/>
                  </a:moveTo>
                  <a:lnTo>
                    <a:pt x="247" y="2"/>
                  </a:lnTo>
                  <a:lnTo>
                    <a:pt x="262" y="8"/>
                  </a:lnTo>
                  <a:lnTo>
                    <a:pt x="275" y="18"/>
                  </a:lnTo>
                  <a:lnTo>
                    <a:pt x="286" y="31"/>
                  </a:lnTo>
                  <a:lnTo>
                    <a:pt x="292" y="47"/>
                  </a:lnTo>
                  <a:lnTo>
                    <a:pt x="294" y="63"/>
                  </a:lnTo>
                  <a:lnTo>
                    <a:pt x="292" y="80"/>
                  </a:lnTo>
                  <a:lnTo>
                    <a:pt x="286" y="95"/>
                  </a:lnTo>
                  <a:lnTo>
                    <a:pt x="276" y="108"/>
                  </a:lnTo>
                  <a:lnTo>
                    <a:pt x="263" y="118"/>
                  </a:lnTo>
                  <a:lnTo>
                    <a:pt x="96" y="213"/>
                  </a:lnTo>
                  <a:lnTo>
                    <a:pt x="80" y="220"/>
                  </a:lnTo>
                  <a:lnTo>
                    <a:pt x="64" y="222"/>
                  </a:lnTo>
                  <a:lnTo>
                    <a:pt x="48" y="220"/>
                  </a:lnTo>
                  <a:lnTo>
                    <a:pt x="32" y="214"/>
                  </a:lnTo>
                  <a:lnTo>
                    <a:pt x="19" y="204"/>
                  </a:lnTo>
                  <a:lnTo>
                    <a:pt x="8" y="190"/>
                  </a:lnTo>
                  <a:lnTo>
                    <a:pt x="2" y="175"/>
                  </a:lnTo>
                  <a:lnTo>
                    <a:pt x="0" y="158"/>
                  </a:lnTo>
                  <a:lnTo>
                    <a:pt x="2" y="142"/>
                  </a:lnTo>
                  <a:lnTo>
                    <a:pt x="8" y="127"/>
                  </a:lnTo>
                  <a:lnTo>
                    <a:pt x="19" y="114"/>
                  </a:lnTo>
                  <a:lnTo>
                    <a:pt x="31" y="103"/>
                  </a:lnTo>
                  <a:lnTo>
                    <a:pt x="198" y="8"/>
                  </a:lnTo>
                  <a:lnTo>
                    <a:pt x="215" y="2"/>
                  </a:lnTo>
                  <a:lnTo>
                    <a:pt x="23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 panose="020B0502020104020203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8" name="Freeform 131">
              <a:extLst>
                <a:ext uri="{FF2B5EF4-FFF2-40B4-BE49-F238E27FC236}">
                  <a16:creationId xmlns:a16="http://schemas.microsoft.com/office/drawing/2014/main" id="{E971CEF3-D579-8EC7-BCF8-E7F60C6C5D2C}"/>
                </a:ext>
              </a:extLst>
            </p:cNvPr>
            <p:cNvSpPr>
              <a:spLocks/>
            </p:cNvSpPr>
            <p:nvPr/>
          </p:nvSpPr>
          <p:spPr bwMode="auto">
            <a:xfrm>
              <a:off x="890588" y="2954338"/>
              <a:ext cx="31750" cy="41275"/>
            </a:xfrm>
            <a:custGeom>
              <a:avLst/>
              <a:gdLst>
                <a:gd name="T0" fmla="*/ 159 w 224"/>
                <a:gd name="T1" fmla="*/ 0 h 292"/>
                <a:gd name="T2" fmla="*/ 176 w 224"/>
                <a:gd name="T3" fmla="*/ 2 h 292"/>
                <a:gd name="T4" fmla="*/ 192 w 224"/>
                <a:gd name="T5" fmla="*/ 9 h 292"/>
                <a:gd name="T6" fmla="*/ 205 w 224"/>
                <a:gd name="T7" fmla="*/ 19 h 292"/>
                <a:gd name="T8" fmla="*/ 216 w 224"/>
                <a:gd name="T9" fmla="*/ 32 h 292"/>
                <a:gd name="T10" fmla="*/ 222 w 224"/>
                <a:gd name="T11" fmla="*/ 48 h 292"/>
                <a:gd name="T12" fmla="*/ 224 w 224"/>
                <a:gd name="T13" fmla="*/ 63 h 292"/>
                <a:gd name="T14" fmla="*/ 222 w 224"/>
                <a:gd name="T15" fmla="*/ 80 h 292"/>
                <a:gd name="T16" fmla="*/ 216 w 224"/>
                <a:gd name="T17" fmla="*/ 95 h 292"/>
                <a:gd name="T18" fmla="*/ 119 w 224"/>
                <a:gd name="T19" fmla="*/ 261 h 292"/>
                <a:gd name="T20" fmla="*/ 109 w 224"/>
                <a:gd name="T21" fmla="*/ 274 h 292"/>
                <a:gd name="T22" fmla="*/ 95 w 224"/>
                <a:gd name="T23" fmla="*/ 285 h 292"/>
                <a:gd name="T24" fmla="*/ 81 w 224"/>
                <a:gd name="T25" fmla="*/ 290 h 292"/>
                <a:gd name="T26" fmla="*/ 64 w 224"/>
                <a:gd name="T27" fmla="*/ 292 h 292"/>
                <a:gd name="T28" fmla="*/ 48 w 224"/>
                <a:gd name="T29" fmla="*/ 290 h 292"/>
                <a:gd name="T30" fmla="*/ 32 w 224"/>
                <a:gd name="T31" fmla="*/ 284 h 292"/>
                <a:gd name="T32" fmla="*/ 18 w 224"/>
                <a:gd name="T33" fmla="*/ 273 h 292"/>
                <a:gd name="T34" fmla="*/ 8 w 224"/>
                <a:gd name="T35" fmla="*/ 261 h 292"/>
                <a:gd name="T36" fmla="*/ 2 w 224"/>
                <a:gd name="T37" fmla="*/ 245 h 292"/>
                <a:gd name="T38" fmla="*/ 0 w 224"/>
                <a:gd name="T39" fmla="*/ 230 h 292"/>
                <a:gd name="T40" fmla="*/ 2 w 224"/>
                <a:gd name="T41" fmla="*/ 213 h 292"/>
                <a:gd name="T42" fmla="*/ 8 w 224"/>
                <a:gd name="T43" fmla="*/ 197 h 292"/>
                <a:gd name="T44" fmla="*/ 105 w 224"/>
                <a:gd name="T45" fmla="*/ 32 h 292"/>
                <a:gd name="T46" fmla="*/ 115 w 224"/>
                <a:gd name="T47" fmla="*/ 18 h 292"/>
                <a:gd name="T48" fmla="*/ 129 w 224"/>
                <a:gd name="T49" fmla="*/ 8 h 292"/>
                <a:gd name="T50" fmla="*/ 144 w 224"/>
                <a:gd name="T51" fmla="*/ 2 h 292"/>
                <a:gd name="T52" fmla="*/ 159 w 224"/>
                <a:gd name="T53" fmla="*/ 0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24" h="292">
                  <a:moveTo>
                    <a:pt x="159" y="0"/>
                  </a:moveTo>
                  <a:lnTo>
                    <a:pt x="176" y="2"/>
                  </a:lnTo>
                  <a:lnTo>
                    <a:pt x="192" y="9"/>
                  </a:lnTo>
                  <a:lnTo>
                    <a:pt x="205" y="19"/>
                  </a:lnTo>
                  <a:lnTo>
                    <a:pt x="216" y="32"/>
                  </a:lnTo>
                  <a:lnTo>
                    <a:pt x="222" y="48"/>
                  </a:lnTo>
                  <a:lnTo>
                    <a:pt x="224" y="63"/>
                  </a:lnTo>
                  <a:lnTo>
                    <a:pt x="222" y="80"/>
                  </a:lnTo>
                  <a:lnTo>
                    <a:pt x="216" y="95"/>
                  </a:lnTo>
                  <a:lnTo>
                    <a:pt x="119" y="261"/>
                  </a:lnTo>
                  <a:lnTo>
                    <a:pt x="109" y="274"/>
                  </a:lnTo>
                  <a:lnTo>
                    <a:pt x="95" y="285"/>
                  </a:lnTo>
                  <a:lnTo>
                    <a:pt x="81" y="290"/>
                  </a:lnTo>
                  <a:lnTo>
                    <a:pt x="64" y="292"/>
                  </a:lnTo>
                  <a:lnTo>
                    <a:pt x="48" y="290"/>
                  </a:lnTo>
                  <a:lnTo>
                    <a:pt x="32" y="284"/>
                  </a:lnTo>
                  <a:lnTo>
                    <a:pt x="18" y="273"/>
                  </a:lnTo>
                  <a:lnTo>
                    <a:pt x="8" y="261"/>
                  </a:lnTo>
                  <a:lnTo>
                    <a:pt x="2" y="245"/>
                  </a:lnTo>
                  <a:lnTo>
                    <a:pt x="0" y="230"/>
                  </a:lnTo>
                  <a:lnTo>
                    <a:pt x="2" y="213"/>
                  </a:lnTo>
                  <a:lnTo>
                    <a:pt x="8" y="197"/>
                  </a:lnTo>
                  <a:lnTo>
                    <a:pt x="105" y="32"/>
                  </a:lnTo>
                  <a:lnTo>
                    <a:pt x="115" y="18"/>
                  </a:lnTo>
                  <a:lnTo>
                    <a:pt x="129" y="8"/>
                  </a:lnTo>
                  <a:lnTo>
                    <a:pt x="144" y="2"/>
                  </a:lnTo>
                  <a:lnTo>
                    <a:pt x="15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 panose="020B0502020104020203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9" name="Freeform 132">
              <a:extLst>
                <a:ext uri="{FF2B5EF4-FFF2-40B4-BE49-F238E27FC236}">
                  <a16:creationId xmlns:a16="http://schemas.microsoft.com/office/drawing/2014/main" id="{3E612125-90D6-2DD0-8CE0-41AC7DF2B9D5}"/>
                </a:ext>
              </a:extLst>
            </p:cNvPr>
            <p:cNvSpPr>
              <a:spLocks/>
            </p:cNvSpPr>
            <p:nvPr/>
          </p:nvSpPr>
          <p:spPr bwMode="auto">
            <a:xfrm>
              <a:off x="787401" y="3065463"/>
              <a:ext cx="44450" cy="142875"/>
            </a:xfrm>
            <a:custGeom>
              <a:avLst/>
              <a:gdLst>
                <a:gd name="T0" fmla="*/ 154 w 308"/>
                <a:gd name="T1" fmla="*/ 0 h 991"/>
                <a:gd name="T2" fmla="*/ 186 w 308"/>
                <a:gd name="T3" fmla="*/ 2 h 991"/>
                <a:gd name="T4" fmla="*/ 213 w 308"/>
                <a:gd name="T5" fmla="*/ 8 h 991"/>
                <a:gd name="T6" fmla="*/ 238 w 308"/>
                <a:gd name="T7" fmla="*/ 17 h 991"/>
                <a:gd name="T8" fmla="*/ 259 w 308"/>
                <a:gd name="T9" fmla="*/ 30 h 991"/>
                <a:gd name="T10" fmla="*/ 277 w 308"/>
                <a:gd name="T11" fmla="*/ 47 h 991"/>
                <a:gd name="T12" fmla="*/ 291 w 308"/>
                <a:gd name="T13" fmla="*/ 67 h 991"/>
                <a:gd name="T14" fmla="*/ 301 w 308"/>
                <a:gd name="T15" fmla="*/ 91 h 991"/>
                <a:gd name="T16" fmla="*/ 306 w 308"/>
                <a:gd name="T17" fmla="*/ 119 h 991"/>
                <a:gd name="T18" fmla="*/ 308 w 308"/>
                <a:gd name="T19" fmla="*/ 150 h 991"/>
                <a:gd name="T20" fmla="*/ 308 w 308"/>
                <a:gd name="T21" fmla="*/ 375 h 991"/>
                <a:gd name="T22" fmla="*/ 307 w 308"/>
                <a:gd name="T23" fmla="*/ 405 h 991"/>
                <a:gd name="T24" fmla="*/ 304 w 308"/>
                <a:gd name="T25" fmla="*/ 435 h 991"/>
                <a:gd name="T26" fmla="*/ 301 w 308"/>
                <a:gd name="T27" fmla="*/ 466 h 991"/>
                <a:gd name="T28" fmla="*/ 240 w 308"/>
                <a:gd name="T29" fmla="*/ 920 h 991"/>
                <a:gd name="T30" fmla="*/ 236 w 308"/>
                <a:gd name="T31" fmla="*/ 942 h 991"/>
                <a:gd name="T32" fmla="*/ 229 w 308"/>
                <a:gd name="T33" fmla="*/ 959 h 991"/>
                <a:gd name="T34" fmla="*/ 219 w 308"/>
                <a:gd name="T35" fmla="*/ 972 h 991"/>
                <a:gd name="T36" fmla="*/ 207 w 308"/>
                <a:gd name="T37" fmla="*/ 981 h 991"/>
                <a:gd name="T38" fmla="*/ 192 w 308"/>
                <a:gd name="T39" fmla="*/ 987 h 991"/>
                <a:gd name="T40" fmla="*/ 174 w 308"/>
                <a:gd name="T41" fmla="*/ 990 h 991"/>
                <a:gd name="T42" fmla="*/ 154 w 308"/>
                <a:gd name="T43" fmla="*/ 991 h 991"/>
                <a:gd name="T44" fmla="*/ 135 w 308"/>
                <a:gd name="T45" fmla="*/ 990 h 991"/>
                <a:gd name="T46" fmla="*/ 117 w 308"/>
                <a:gd name="T47" fmla="*/ 987 h 991"/>
                <a:gd name="T48" fmla="*/ 102 w 308"/>
                <a:gd name="T49" fmla="*/ 981 h 991"/>
                <a:gd name="T50" fmla="*/ 90 w 308"/>
                <a:gd name="T51" fmla="*/ 972 h 991"/>
                <a:gd name="T52" fmla="*/ 80 w 308"/>
                <a:gd name="T53" fmla="*/ 959 h 991"/>
                <a:gd name="T54" fmla="*/ 73 w 308"/>
                <a:gd name="T55" fmla="*/ 942 h 991"/>
                <a:gd name="T56" fmla="*/ 69 w 308"/>
                <a:gd name="T57" fmla="*/ 920 h 991"/>
                <a:gd name="T58" fmla="*/ 8 w 308"/>
                <a:gd name="T59" fmla="*/ 466 h 991"/>
                <a:gd name="T60" fmla="*/ 5 w 308"/>
                <a:gd name="T61" fmla="*/ 435 h 991"/>
                <a:gd name="T62" fmla="*/ 2 w 308"/>
                <a:gd name="T63" fmla="*/ 405 h 991"/>
                <a:gd name="T64" fmla="*/ 0 w 308"/>
                <a:gd name="T65" fmla="*/ 375 h 991"/>
                <a:gd name="T66" fmla="*/ 0 w 308"/>
                <a:gd name="T67" fmla="*/ 150 h 991"/>
                <a:gd name="T68" fmla="*/ 3 w 308"/>
                <a:gd name="T69" fmla="*/ 119 h 991"/>
                <a:gd name="T70" fmla="*/ 8 w 308"/>
                <a:gd name="T71" fmla="*/ 91 h 991"/>
                <a:gd name="T72" fmla="*/ 18 w 308"/>
                <a:gd name="T73" fmla="*/ 67 h 991"/>
                <a:gd name="T74" fmla="*/ 32 w 308"/>
                <a:gd name="T75" fmla="*/ 47 h 991"/>
                <a:gd name="T76" fmla="*/ 50 w 308"/>
                <a:gd name="T77" fmla="*/ 30 h 991"/>
                <a:gd name="T78" fmla="*/ 71 w 308"/>
                <a:gd name="T79" fmla="*/ 17 h 991"/>
                <a:gd name="T80" fmla="*/ 96 w 308"/>
                <a:gd name="T81" fmla="*/ 8 h 991"/>
                <a:gd name="T82" fmla="*/ 123 w 308"/>
                <a:gd name="T83" fmla="*/ 2 h 991"/>
                <a:gd name="T84" fmla="*/ 154 w 308"/>
                <a:gd name="T85" fmla="*/ 0 h 9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08" h="991">
                  <a:moveTo>
                    <a:pt x="154" y="0"/>
                  </a:moveTo>
                  <a:lnTo>
                    <a:pt x="186" y="2"/>
                  </a:lnTo>
                  <a:lnTo>
                    <a:pt x="213" y="8"/>
                  </a:lnTo>
                  <a:lnTo>
                    <a:pt x="238" y="17"/>
                  </a:lnTo>
                  <a:lnTo>
                    <a:pt x="259" y="30"/>
                  </a:lnTo>
                  <a:lnTo>
                    <a:pt x="277" y="47"/>
                  </a:lnTo>
                  <a:lnTo>
                    <a:pt x="291" y="67"/>
                  </a:lnTo>
                  <a:lnTo>
                    <a:pt x="301" y="91"/>
                  </a:lnTo>
                  <a:lnTo>
                    <a:pt x="306" y="119"/>
                  </a:lnTo>
                  <a:lnTo>
                    <a:pt x="308" y="150"/>
                  </a:lnTo>
                  <a:lnTo>
                    <a:pt x="308" y="375"/>
                  </a:lnTo>
                  <a:lnTo>
                    <a:pt x="307" y="405"/>
                  </a:lnTo>
                  <a:lnTo>
                    <a:pt x="304" y="435"/>
                  </a:lnTo>
                  <a:lnTo>
                    <a:pt x="301" y="466"/>
                  </a:lnTo>
                  <a:lnTo>
                    <a:pt x="240" y="920"/>
                  </a:lnTo>
                  <a:lnTo>
                    <a:pt x="236" y="942"/>
                  </a:lnTo>
                  <a:lnTo>
                    <a:pt x="229" y="959"/>
                  </a:lnTo>
                  <a:lnTo>
                    <a:pt x="219" y="972"/>
                  </a:lnTo>
                  <a:lnTo>
                    <a:pt x="207" y="981"/>
                  </a:lnTo>
                  <a:lnTo>
                    <a:pt x="192" y="987"/>
                  </a:lnTo>
                  <a:lnTo>
                    <a:pt x="174" y="990"/>
                  </a:lnTo>
                  <a:lnTo>
                    <a:pt x="154" y="991"/>
                  </a:lnTo>
                  <a:lnTo>
                    <a:pt x="135" y="990"/>
                  </a:lnTo>
                  <a:lnTo>
                    <a:pt x="117" y="987"/>
                  </a:lnTo>
                  <a:lnTo>
                    <a:pt x="102" y="981"/>
                  </a:lnTo>
                  <a:lnTo>
                    <a:pt x="90" y="972"/>
                  </a:lnTo>
                  <a:lnTo>
                    <a:pt x="80" y="959"/>
                  </a:lnTo>
                  <a:lnTo>
                    <a:pt x="73" y="942"/>
                  </a:lnTo>
                  <a:lnTo>
                    <a:pt x="69" y="920"/>
                  </a:lnTo>
                  <a:lnTo>
                    <a:pt x="8" y="466"/>
                  </a:lnTo>
                  <a:lnTo>
                    <a:pt x="5" y="435"/>
                  </a:lnTo>
                  <a:lnTo>
                    <a:pt x="2" y="405"/>
                  </a:lnTo>
                  <a:lnTo>
                    <a:pt x="0" y="375"/>
                  </a:lnTo>
                  <a:lnTo>
                    <a:pt x="0" y="150"/>
                  </a:lnTo>
                  <a:lnTo>
                    <a:pt x="3" y="119"/>
                  </a:lnTo>
                  <a:lnTo>
                    <a:pt x="8" y="91"/>
                  </a:lnTo>
                  <a:lnTo>
                    <a:pt x="18" y="67"/>
                  </a:lnTo>
                  <a:lnTo>
                    <a:pt x="32" y="47"/>
                  </a:lnTo>
                  <a:lnTo>
                    <a:pt x="50" y="30"/>
                  </a:lnTo>
                  <a:lnTo>
                    <a:pt x="71" y="17"/>
                  </a:lnTo>
                  <a:lnTo>
                    <a:pt x="96" y="8"/>
                  </a:lnTo>
                  <a:lnTo>
                    <a:pt x="123" y="2"/>
                  </a:lnTo>
                  <a:lnTo>
                    <a:pt x="15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 panose="020B0502020104020203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0" name="Freeform 133">
              <a:extLst>
                <a:ext uri="{FF2B5EF4-FFF2-40B4-BE49-F238E27FC236}">
                  <a16:creationId xmlns:a16="http://schemas.microsoft.com/office/drawing/2014/main" id="{488C71BE-38D7-A465-540E-A8822DC1CA94}"/>
                </a:ext>
              </a:extLst>
            </p:cNvPr>
            <p:cNvSpPr>
              <a:spLocks/>
            </p:cNvSpPr>
            <p:nvPr/>
          </p:nvSpPr>
          <p:spPr bwMode="auto">
            <a:xfrm>
              <a:off x="785813" y="3225800"/>
              <a:ext cx="47625" cy="46038"/>
            </a:xfrm>
            <a:custGeom>
              <a:avLst/>
              <a:gdLst>
                <a:gd name="T0" fmla="*/ 160 w 321"/>
                <a:gd name="T1" fmla="*/ 0 h 319"/>
                <a:gd name="T2" fmla="*/ 193 w 321"/>
                <a:gd name="T3" fmla="*/ 4 h 319"/>
                <a:gd name="T4" fmla="*/ 222 w 321"/>
                <a:gd name="T5" fmla="*/ 14 h 319"/>
                <a:gd name="T6" fmla="*/ 250 w 321"/>
                <a:gd name="T7" fmla="*/ 28 h 319"/>
                <a:gd name="T8" fmla="*/ 274 w 321"/>
                <a:gd name="T9" fmla="*/ 47 h 319"/>
                <a:gd name="T10" fmla="*/ 294 w 321"/>
                <a:gd name="T11" fmla="*/ 71 h 319"/>
                <a:gd name="T12" fmla="*/ 308 w 321"/>
                <a:gd name="T13" fmla="*/ 98 h 319"/>
                <a:gd name="T14" fmla="*/ 318 w 321"/>
                <a:gd name="T15" fmla="*/ 128 h 319"/>
                <a:gd name="T16" fmla="*/ 321 w 321"/>
                <a:gd name="T17" fmla="*/ 159 h 319"/>
                <a:gd name="T18" fmla="*/ 318 w 321"/>
                <a:gd name="T19" fmla="*/ 192 h 319"/>
                <a:gd name="T20" fmla="*/ 308 w 321"/>
                <a:gd name="T21" fmla="*/ 222 h 319"/>
                <a:gd name="T22" fmla="*/ 294 w 321"/>
                <a:gd name="T23" fmla="*/ 249 h 319"/>
                <a:gd name="T24" fmla="*/ 274 w 321"/>
                <a:gd name="T25" fmla="*/ 272 h 319"/>
                <a:gd name="T26" fmla="*/ 250 w 321"/>
                <a:gd name="T27" fmla="*/ 291 h 319"/>
                <a:gd name="T28" fmla="*/ 222 w 321"/>
                <a:gd name="T29" fmla="*/ 306 h 319"/>
                <a:gd name="T30" fmla="*/ 193 w 321"/>
                <a:gd name="T31" fmla="*/ 315 h 319"/>
                <a:gd name="T32" fmla="*/ 160 w 321"/>
                <a:gd name="T33" fmla="*/ 319 h 319"/>
                <a:gd name="T34" fmla="*/ 128 w 321"/>
                <a:gd name="T35" fmla="*/ 315 h 319"/>
                <a:gd name="T36" fmla="*/ 99 w 321"/>
                <a:gd name="T37" fmla="*/ 306 h 319"/>
                <a:gd name="T38" fmla="*/ 71 w 321"/>
                <a:gd name="T39" fmla="*/ 291 h 319"/>
                <a:gd name="T40" fmla="*/ 47 w 321"/>
                <a:gd name="T41" fmla="*/ 272 h 319"/>
                <a:gd name="T42" fmla="*/ 27 w 321"/>
                <a:gd name="T43" fmla="*/ 249 h 319"/>
                <a:gd name="T44" fmla="*/ 13 w 321"/>
                <a:gd name="T45" fmla="*/ 222 h 319"/>
                <a:gd name="T46" fmla="*/ 3 w 321"/>
                <a:gd name="T47" fmla="*/ 192 h 319"/>
                <a:gd name="T48" fmla="*/ 0 w 321"/>
                <a:gd name="T49" fmla="*/ 159 h 319"/>
                <a:gd name="T50" fmla="*/ 3 w 321"/>
                <a:gd name="T51" fmla="*/ 128 h 319"/>
                <a:gd name="T52" fmla="*/ 13 w 321"/>
                <a:gd name="T53" fmla="*/ 98 h 319"/>
                <a:gd name="T54" fmla="*/ 27 w 321"/>
                <a:gd name="T55" fmla="*/ 71 h 319"/>
                <a:gd name="T56" fmla="*/ 47 w 321"/>
                <a:gd name="T57" fmla="*/ 47 h 319"/>
                <a:gd name="T58" fmla="*/ 71 w 321"/>
                <a:gd name="T59" fmla="*/ 28 h 319"/>
                <a:gd name="T60" fmla="*/ 99 w 321"/>
                <a:gd name="T61" fmla="*/ 14 h 319"/>
                <a:gd name="T62" fmla="*/ 128 w 321"/>
                <a:gd name="T63" fmla="*/ 4 h 319"/>
                <a:gd name="T64" fmla="*/ 160 w 321"/>
                <a:gd name="T65" fmla="*/ 0 h 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21" h="319">
                  <a:moveTo>
                    <a:pt x="160" y="0"/>
                  </a:moveTo>
                  <a:lnTo>
                    <a:pt x="193" y="4"/>
                  </a:lnTo>
                  <a:lnTo>
                    <a:pt x="222" y="14"/>
                  </a:lnTo>
                  <a:lnTo>
                    <a:pt x="250" y="28"/>
                  </a:lnTo>
                  <a:lnTo>
                    <a:pt x="274" y="47"/>
                  </a:lnTo>
                  <a:lnTo>
                    <a:pt x="294" y="71"/>
                  </a:lnTo>
                  <a:lnTo>
                    <a:pt x="308" y="98"/>
                  </a:lnTo>
                  <a:lnTo>
                    <a:pt x="318" y="128"/>
                  </a:lnTo>
                  <a:lnTo>
                    <a:pt x="321" y="159"/>
                  </a:lnTo>
                  <a:lnTo>
                    <a:pt x="318" y="192"/>
                  </a:lnTo>
                  <a:lnTo>
                    <a:pt x="308" y="222"/>
                  </a:lnTo>
                  <a:lnTo>
                    <a:pt x="294" y="249"/>
                  </a:lnTo>
                  <a:lnTo>
                    <a:pt x="274" y="272"/>
                  </a:lnTo>
                  <a:lnTo>
                    <a:pt x="250" y="291"/>
                  </a:lnTo>
                  <a:lnTo>
                    <a:pt x="222" y="306"/>
                  </a:lnTo>
                  <a:lnTo>
                    <a:pt x="193" y="315"/>
                  </a:lnTo>
                  <a:lnTo>
                    <a:pt x="160" y="319"/>
                  </a:lnTo>
                  <a:lnTo>
                    <a:pt x="128" y="315"/>
                  </a:lnTo>
                  <a:lnTo>
                    <a:pt x="99" y="306"/>
                  </a:lnTo>
                  <a:lnTo>
                    <a:pt x="71" y="291"/>
                  </a:lnTo>
                  <a:lnTo>
                    <a:pt x="47" y="272"/>
                  </a:lnTo>
                  <a:lnTo>
                    <a:pt x="27" y="249"/>
                  </a:lnTo>
                  <a:lnTo>
                    <a:pt x="13" y="222"/>
                  </a:lnTo>
                  <a:lnTo>
                    <a:pt x="3" y="192"/>
                  </a:lnTo>
                  <a:lnTo>
                    <a:pt x="0" y="159"/>
                  </a:lnTo>
                  <a:lnTo>
                    <a:pt x="3" y="128"/>
                  </a:lnTo>
                  <a:lnTo>
                    <a:pt x="13" y="98"/>
                  </a:lnTo>
                  <a:lnTo>
                    <a:pt x="27" y="71"/>
                  </a:lnTo>
                  <a:lnTo>
                    <a:pt x="47" y="47"/>
                  </a:lnTo>
                  <a:lnTo>
                    <a:pt x="71" y="28"/>
                  </a:lnTo>
                  <a:lnTo>
                    <a:pt x="99" y="14"/>
                  </a:lnTo>
                  <a:lnTo>
                    <a:pt x="128" y="4"/>
                  </a:lnTo>
                  <a:lnTo>
                    <a:pt x="16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 panose="020B0502020104020203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61" name="Group 160">
            <a:extLst>
              <a:ext uri="{FF2B5EF4-FFF2-40B4-BE49-F238E27FC236}">
                <a16:creationId xmlns:a16="http://schemas.microsoft.com/office/drawing/2014/main" id="{14A00B9B-1A5B-E004-69C8-0284B3B01E3D}"/>
              </a:ext>
            </a:extLst>
          </p:cNvPr>
          <p:cNvGrpSpPr/>
          <p:nvPr/>
        </p:nvGrpSpPr>
        <p:grpSpPr>
          <a:xfrm>
            <a:off x="4078563" y="2684236"/>
            <a:ext cx="318856" cy="350274"/>
            <a:chOff x="592138" y="2925763"/>
            <a:chExt cx="434976" cy="477838"/>
          </a:xfrm>
          <a:solidFill>
            <a:sysClr val="window" lastClr="FFFFFF"/>
          </a:solidFill>
        </p:grpSpPr>
        <p:sp>
          <p:nvSpPr>
            <p:cNvPr id="162" name="Freeform 135">
              <a:extLst>
                <a:ext uri="{FF2B5EF4-FFF2-40B4-BE49-F238E27FC236}">
                  <a16:creationId xmlns:a16="http://schemas.microsoft.com/office/drawing/2014/main" id="{C69A8437-0EDA-C2CF-6138-D1CB6B7306F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3576" y="2998788"/>
              <a:ext cx="292100" cy="404813"/>
            </a:xfrm>
            <a:custGeom>
              <a:avLst/>
              <a:gdLst>
                <a:gd name="T0" fmla="*/ 750 w 2029"/>
                <a:gd name="T1" fmla="*/ 299 h 2800"/>
                <a:gd name="T2" fmla="*/ 479 w 2029"/>
                <a:gd name="T3" fmla="*/ 466 h 2800"/>
                <a:gd name="T4" fmla="*/ 304 w 2029"/>
                <a:gd name="T5" fmla="*/ 723 h 2800"/>
                <a:gd name="T6" fmla="*/ 259 w 2029"/>
                <a:gd name="T7" fmla="*/ 1034 h 2800"/>
                <a:gd name="T8" fmla="*/ 314 w 2029"/>
                <a:gd name="T9" fmla="*/ 1283 h 2800"/>
                <a:gd name="T10" fmla="*/ 414 w 2029"/>
                <a:gd name="T11" fmla="*/ 1472 h 2800"/>
                <a:gd name="T12" fmla="*/ 530 w 2029"/>
                <a:gd name="T13" fmla="*/ 1646 h 2800"/>
                <a:gd name="T14" fmla="*/ 603 w 2029"/>
                <a:gd name="T15" fmla="*/ 1843 h 2800"/>
                <a:gd name="T16" fmla="*/ 647 w 2029"/>
                <a:gd name="T17" fmla="*/ 1978 h 2800"/>
                <a:gd name="T18" fmla="*/ 1346 w 2029"/>
                <a:gd name="T19" fmla="*/ 2011 h 2800"/>
                <a:gd name="T20" fmla="*/ 1421 w 2029"/>
                <a:gd name="T21" fmla="*/ 1912 h 2800"/>
                <a:gd name="T22" fmla="*/ 1460 w 2029"/>
                <a:gd name="T23" fmla="*/ 1721 h 2800"/>
                <a:gd name="T24" fmla="*/ 1570 w 2029"/>
                <a:gd name="T25" fmla="*/ 1538 h 2800"/>
                <a:gd name="T26" fmla="*/ 1678 w 2029"/>
                <a:gd name="T27" fmla="*/ 1364 h 2800"/>
                <a:gd name="T28" fmla="*/ 1756 w 2029"/>
                <a:gd name="T29" fmla="*/ 1143 h 2800"/>
                <a:gd name="T30" fmla="*/ 1760 w 2029"/>
                <a:gd name="T31" fmla="*/ 844 h 2800"/>
                <a:gd name="T32" fmla="*/ 1634 w 2029"/>
                <a:gd name="T33" fmla="*/ 559 h 2800"/>
                <a:gd name="T34" fmla="*/ 1397 w 2029"/>
                <a:gd name="T35" fmla="*/ 352 h 2800"/>
                <a:gd name="T36" fmla="*/ 1084 w 2029"/>
                <a:gd name="T37" fmla="*/ 258 h 2800"/>
                <a:gd name="T38" fmla="*/ 1258 w 2029"/>
                <a:gd name="T39" fmla="*/ 29 h 2800"/>
                <a:gd name="T40" fmla="*/ 1613 w 2029"/>
                <a:gd name="T41" fmla="*/ 188 h 2800"/>
                <a:gd name="T42" fmla="*/ 1877 w 2029"/>
                <a:gd name="T43" fmla="*/ 461 h 2800"/>
                <a:gd name="T44" fmla="*/ 2015 w 2029"/>
                <a:gd name="T45" fmla="*/ 815 h 2800"/>
                <a:gd name="T46" fmla="*/ 2013 w 2029"/>
                <a:gd name="T47" fmla="*/ 1166 h 2800"/>
                <a:gd name="T48" fmla="*/ 1934 w 2029"/>
                <a:gd name="T49" fmla="*/ 1424 h 2800"/>
                <a:gd name="T50" fmla="*/ 1825 w 2029"/>
                <a:gd name="T51" fmla="*/ 1617 h 2800"/>
                <a:gd name="T52" fmla="*/ 1714 w 2029"/>
                <a:gd name="T53" fmla="*/ 1785 h 2800"/>
                <a:gd name="T54" fmla="*/ 1677 w 2029"/>
                <a:gd name="T55" fmla="*/ 1934 h 2800"/>
                <a:gd name="T56" fmla="*/ 1572 w 2029"/>
                <a:gd name="T57" fmla="*/ 2150 h 2800"/>
                <a:gd name="T58" fmla="*/ 1487 w 2029"/>
                <a:gd name="T59" fmla="*/ 2294 h 2800"/>
                <a:gd name="T60" fmla="*/ 1480 w 2029"/>
                <a:gd name="T61" fmla="*/ 2429 h 2800"/>
                <a:gd name="T62" fmla="*/ 1476 w 2029"/>
                <a:gd name="T63" fmla="*/ 2492 h 2800"/>
                <a:gd name="T64" fmla="*/ 1446 w 2029"/>
                <a:gd name="T65" fmla="*/ 2575 h 2800"/>
                <a:gd name="T66" fmla="*/ 1340 w 2029"/>
                <a:gd name="T67" fmla="*/ 2666 h 2800"/>
                <a:gd name="T68" fmla="*/ 1184 w 2029"/>
                <a:gd name="T69" fmla="*/ 2779 h 2800"/>
                <a:gd name="T70" fmla="*/ 891 w 2029"/>
                <a:gd name="T71" fmla="*/ 2798 h 2800"/>
                <a:gd name="T72" fmla="*/ 762 w 2029"/>
                <a:gd name="T73" fmla="*/ 2698 h 2800"/>
                <a:gd name="T74" fmla="*/ 607 w 2029"/>
                <a:gd name="T75" fmla="*/ 2606 h 2800"/>
                <a:gd name="T76" fmla="*/ 556 w 2029"/>
                <a:gd name="T77" fmla="*/ 2509 h 2800"/>
                <a:gd name="T78" fmla="*/ 551 w 2029"/>
                <a:gd name="T79" fmla="*/ 2466 h 2800"/>
                <a:gd name="T80" fmla="*/ 545 w 2029"/>
                <a:gd name="T81" fmla="*/ 2350 h 2800"/>
                <a:gd name="T82" fmla="*/ 538 w 2029"/>
                <a:gd name="T83" fmla="*/ 2221 h 2800"/>
                <a:gd name="T84" fmla="*/ 376 w 2029"/>
                <a:gd name="T85" fmla="*/ 2025 h 2800"/>
                <a:gd name="T86" fmla="*/ 340 w 2029"/>
                <a:gd name="T87" fmla="*/ 1839 h 2800"/>
                <a:gd name="T88" fmla="*/ 248 w 2029"/>
                <a:gd name="T89" fmla="*/ 1682 h 2800"/>
                <a:gd name="T90" fmla="*/ 138 w 2029"/>
                <a:gd name="T91" fmla="*/ 1508 h 2800"/>
                <a:gd name="T92" fmla="*/ 41 w 2029"/>
                <a:gd name="T93" fmla="*/ 1278 h 2800"/>
                <a:gd name="T94" fmla="*/ 0 w 2029"/>
                <a:gd name="T95" fmla="*/ 973 h 2800"/>
                <a:gd name="T96" fmla="*/ 80 w 2029"/>
                <a:gd name="T97" fmla="*/ 595 h 2800"/>
                <a:gd name="T98" fmla="*/ 298 w 2029"/>
                <a:gd name="T99" fmla="*/ 286 h 2800"/>
                <a:gd name="T100" fmla="*/ 621 w 2029"/>
                <a:gd name="T101" fmla="*/ 77 h 2800"/>
                <a:gd name="T102" fmla="*/ 1014 w 2029"/>
                <a:gd name="T103" fmla="*/ 0 h 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029" h="2800">
                  <a:moveTo>
                    <a:pt x="1014" y="255"/>
                  </a:moveTo>
                  <a:lnTo>
                    <a:pt x="945" y="258"/>
                  </a:lnTo>
                  <a:lnTo>
                    <a:pt x="878" y="266"/>
                  </a:lnTo>
                  <a:lnTo>
                    <a:pt x="813" y="281"/>
                  </a:lnTo>
                  <a:lnTo>
                    <a:pt x="750" y="299"/>
                  </a:lnTo>
                  <a:lnTo>
                    <a:pt x="690" y="324"/>
                  </a:lnTo>
                  <a:lnTo>
                    <a:pt x="632" y="354"/>
                  </a:lnTo>
                  <a:lnTo>
                    <a:pt x="578" y="387"/>
                  </a:lnTo>
                  <a:lnTo>
                    <a:pt x="527" y="424"/>
                  </a:lnTo>
                  <a:lnTo>
                    <a:pt x="479" y="466"/>
                  </a:lnTo>
                  <a:lnTo>
                    <a:pt x="435" y="511"/>
                  </a:lnTo>
                  <a:lnTo>
                    <a:pt x="396" y="559"/>
                  </a:lnTo>
                  <a:lnTo>
                    <a:pt x="361" y="611"/>
                  </a:lnTo>
                  <a:lnTo>
                    <a:pt x="330" y="666"/>
                  </a:lnTo>
                  <a:lnTo>
                    <a:pt x="304" y="723"/>
                  </a:lnTo>
                  <a:lnTo>
                    <a:pt x="284" y="783"/>
                  </a:lnTo>
                  <a:lnTo>
                    <a:pt x="270" y="844"/>
                  </a:lnTo>
                  <a:lnTo>
                    <a:pt x="260" y="908"/>
                  </a:lnTo>
                  <a:lnTo>
                    <a:pt x="257" y="973"/>
                  </a:lnTo>
                  <a:lnTo>
                    <a:pt x="259" y="1034"/>
                  </a:lnTo>
                  <a:lnTo>
                    <a:pt x="264" y="1090"/>
                  </a:lnTo>
                  <a:lnTo>
                    <a:pt x="273" y="1143"/>
                  </a:lnTo>
                  <a:lnTo>
                    <a:pt x="284" y="1193"/>
                  </a:lnTo>
                  <a:lnTo>
                    <a:pt x="298" y="1240"/>
                  </a:lnTo>
                  <a:lnTo>
                    <a:pt x="314" y="1283"/>
                  </a:lnTo>
                  <a:lnTo>
                    <a:pt x="331" y="1325"/>
                  </a:lnTo>
                  <a:lnTo>
                    <a:pt x="351" y="1364"/>
                  </a:lnTo>
                  <a:lnTo>
                    <a:pt x="371" y="1402"/>
                  </a:lnTo>
                  <a:lnTo>
                    <a:pt x="393" y="1437"/>
                  </a:lnTo>
                  <a:lnTo>
                    <a:pt x="414" y="1472"/>
                  </a:lnTo>
                  <a:lnTo>
                    <a:pt x="437" y="1505"/>
                  </a:lnTo>
                  <a:lnTo>
                    <a:pt x="458" y="1537"/>
                  </a:lnTo>
                  <a:lnTo>
                    <a:pt x="483" y="1573"/>
                  </a:lnTo>
                  <a:lnTo>
                    <a:pt x="507" y="1610"/>
                  </a:lnTo>
                  <a:lnTo>
                    <a:pt x="530" y="1646"/>
                  </a:lnTo>
                  <a:lnTo>
                    <a:pt x="551" y="1683"/>
                  </a:lnTo>
                  <a:lnTo>
                    <a:pt x="569" y="1721"/>
                  </a:lnTo>
                  <a:lnTo>
                    <a:pt x="584" y="1760"/>
                  </a:lnTo>
                  <a:lnTo>
                    <a:pt x="595" y="1800"/>
                  </a:lnTo>
                  <a:lnTo>
                    <a:pt x="603" y="1843"/>
                  </a:lnTo>
                  <a:lnTo>
                    <a:pt x="605" y="1888"/>
                  </a:lnTo>
                  <a:lnTo>
                    <a:pt x="608" y="1912"/>
                  </a:lnTo>
                  <a:lnTo>
                    <a:pt x="617" y="1936"/>
                  </a:lnTo>
                  <a:lnTo>
                    <a:pt x="630" y="1958"/>
                  </a:lnTo>
                  <a:lnTo>
                    <a:pt x="647" y="1978"/>
                  </a:lnTo>
                  <a:lnTo>
                    <a:pt x="665" y="1996"/>
                  </a:lnTo>
                  <a:lnTo>
                    <a:pt x="683" y="2011"/>
                  </a:lnTo>
                  <a:lnTo>
                    <a:pt x="701" y="2025"/>
                  </a:lnTo>
                  <a:lnTo>
                    <a:pt x="1328" y="2025"/>
                  </a:lnTo>
                  <a:lnTo>
                    <a:pt x="1346" y="2011"/>
                  </a:lnTo>
                  <a:lnTo>
                    <a:pt x="1364" y="1996"/>
                  </a:lnTo>
                  <a:lnTo>
                    <a:pt x="1383" y="1978"/>
                  </a:lnTo>
                  <a:lnTo>
                    <a:pt x="1399" y="1958"/>
                  </a:lnTo>
                  <a:lnTo>
                    <a:pt x="1412" y="1936"/>
                  </a:lnTo>
                  <a:lnTo>
                    <a:pt x="1421" y="1912"/>
                  </a:lnTo>
                  <a:lnTo>
                    <a:pt x="1424" y="1888"/>
                  </a:lnTo>
                  <a:lnTo>
                    <a:pt x="1426" y="1843"/>
                  </a:lnTo>
                  <a:lnTo>
                    <a:pt x="1434" y="1800"/>
                  </a:lnTo>
                  <a:lnTo>
                    <a:pt x="1445" y="1760"/>
                  </a:lnTo>
                  <a:lnTo>
                    <a:pt x="1460" y="1721"/>
                  </a:lnTo>
                  <a:lnTo>
                    <a:pt x="1478" y="1684"/>
                  </a:lnTo>
                  <a:lnTo>
                    <a:pt x="1498" y="1646"/>
                  </a:lnTo>
                  <a:lnTo>
                    <a:pt x="1520" y="1610"/>
                  </a:lnTo>
                  <a:lnTo>
                    <a:pt x="1545" y="1574"/>
                  </a:lnTo>
                  <a:lnTo>
                    <a:pt x="1570" y="1538"/>
                  </a:lnTo>
                  <a:lnTo>
                    <a:pt x="1592" y="1506"/>
                  </a:lnTo>
                  <a:lnTo>
                    <a:pt x="1614" y="1473"/>
                  </a:lnTo>
                  <a:lnTo>
                    <a:pt x="1636" y="1438"/>
                  </a:lnTo>
                  <a:lnTo>
                    <a:pt x="1658" y="1402"/>
                  </a:lnTo>
                  <a:lnTo>
                    <a:pt x="1678" y="1364"/>
                  </a:lnTo>
                  <a:lnTo>
                    <a:pt x="1698" y="1325"/>
                  </a:lnTo>
                  <a:lnTo>
                    <a:pt x="1715" y="1283"/>
                  </a:lnTo>
                  <a:lnTo>
                    <a:pt x="1731" y="1240"/>
                  </a:lnTo>
                  <a:lnTo>
                    <a:pt x="1745" y="1193"/>
                  </a:lnTo>
                  <a:lnTo>
                    <a:pt x="1756" y="1143"/>
                  </a:lnTo>
                  <a:lnTo>
                    <a:pt x="1765" y="1090"/>
                  </a:lnTo>
                  <a:lnTo>
                    <a:pt x="1770" y="1034"/>
                  </a:lnTo>
                  <a:lnTo>
                    <a:pt x="1772" y="973"/>
                  </a:lnTo>
                  <a:lnTo>
                    <a:pt x="1769" y="908"/>
                  </a:lnTo>
                  <a:lnTo>
                    <a:pt x="1760" y="844"/>
                  </a:lnTo>
                  <a:lnTo>
                    <a:pt x="1745" y="782"/>
                  </a:lnTo>
                  <a:lnTo>
                    <a:pt x="1725" y="723"/>
                  </a:lnTo>
                  <a:lnTo>
                    <a:pt x="1700" y="666"/>
                  </a:lnTo>
                  <a:lnTo>
                    <a:pt x="1668" y="610"/>
                  </a:lnTo>
                  <a:lnTo>
                    <a:pt x="1634" y="559"/>
                  </a:lnTo>
                  <a:lnTo>
                    <a:pt x="1594" y="511"/>
                  </a:lnTo>
                  <a:lnTo>
                    <a:pt x="1550" y="466"/>
                  </a:lnTo>
                  <a:lnTo>
                    <a:pt x="1503" y="424"/>
                  </a:lnTo>
                  <a:lnTo>
                    <a:pt x="1451" y="386"/>
                  </a:lnTo>
                  <a:lnTo>
                    <a:pt x="1397" y="352"/>
                  </a:lnTo>
                  <a:lnTo>
                    <a:pt x="1339" y="324"/>
                  </a:lnTo>
                  <a:lnTo>
                    <a:pt x="1278" y="299"/>
                  </a:lnTo>
                  <a:lnTo>
                    <a:pt x="1216" y="281"/>
                  </a:lnTo>
                  <a:lnTo>
                    <a:pt x="1151" y="266"/>
                  </a:lnTo>
                  <a:lnTo>
                    <a:pt x="1084" y="258"/>
                  </a:lnTo>
                  <a:lnTo>
                    <a:pt x="1014" y="255"/>
                  </a:lnTo>
                  <a:close/>
                  <a:moveTo>
                    <a:pt x="1014" y="0"/>
                  </a:moveTo>
                  <a:lnTo>
                    <a:pt x="1097" y="3"/>
                  </a:lnTo>
                  <a:lnTo>
                    <a:pt x="1179" y="13"/>
                  </a:lnTo>
                  <a:lnTo>
                    <a:pt x="1258" y="29"/>
                  </a:lnTo>
                  <a:lnTo>
                    <a:pt x="1335" y="50"/>
                  </a:lnTo>
                  <a:lnTo>
                    <a:pt x="1408" y="77"/>
                  </a:lnTo>
                  <a:lnTo>
                    <a:pt x="1480" y="109"/>
                  </a:lnTo>
                  <a:lnTo>
                    <a:pt x="1548" y="147"/>
                  </a:lnTo>
                  <a:lnTo>
                    <a:pt x="1613" y="188"/>
                  </a:lnTo>
                  <a:lnTo>
                    <a:pt x="1673" y="235"/>
                  </a:lnTo>
                  <a:lnTo>
                    <a:pt x="1731" y="286"/>
                  </a:lnTo>
                  <a:lnTo>
                    <a:pt x="1783" y="340"/>
                  </a:lnTo>
                  <a:lnTo>
                    <a:pt x="1833" y="399"/>
                  </a:lnTo>
                  <a:lnTo>
                    <a:pt x="1877" y="461"/>
                  </a:lnTo>
                  <a:lnTo>
                    <a:pt x="1915" y="526"/>
                  </a:lnTo>
                  <a:lnTo>
                    <a:pt x="1949" y="595"/>
                  </a:lnTo>
                  <a:lnTo>
                    <a:pt x="1976" y="667"/>
                  </a:lnTo>
                  <a:lnTo>
                    <a:pt x="1999" y="739"/>
                  </a:lnTo>
                  <a:lnTo>
                    <a:pt x="2015" y="815"/>
                  </a:lnTo>
                  <a:lnTo>
                    <a:pt x="2025" y="893"/>
                  </a:lnTo>
                  <a:lnTo>
                    <a:pt x="2029" y="973"/>
                  </a:lnTo>
                  <a:lnTo>
                    <a:pt x="2026" y="1041"/>
                  </a:lnTo>
                  <a:lnTo>
                    <a:pt x="2021" y="1105"/>
                  </a:lnTo>
                  <a:lnTo>
                    <a:pt x="2013" y="1166"/>
                  </a:lnTo>
                  <a:lnTo>
                    <a:pt x="2001" y="1224"/>
                  </a:lnTo>
                  <a:lnTo>
                    <a:pt x="1988" y="1278"/>
                  </a:lnTo>
                  <a:lnTo>
                    <a:pt x="1972" y="1329"/>
                  </a:lnTo>
                  <a:lnTo>
                    <a:pt x="1953" y="1378"/>
                  </a:lnTo>
                  <a:lnTo>
                    <a:pt x="1934" y="1424"/>
                  </a:lnTo>
                  <a:lnTo>
                    <a:pt x="1913" y="1466"/>
                  </a:lnTo>
                  <a:lnTo>
                    <a:pt x="1892" y="1507"/>
                  </a:lnTo>
                  <a:lnTo>
                    <a:pt x="1869" y="1546"/>
                  </a:lnTo>
                  <a:lnTo>
                    <a:pt x="1847" y="1583"/>
                  </a:lnTo>
                  <a:lnTo>
                    <a:pt x="1825" y="1617"/>
                  </a:lnTo>
                  <a:lnTo>
                    <a:pt x="1803" y="1649"/>
                  </a:lnTo>
                  <a:lnTo>
                    <a:pt x="1781" y="1681"/>
                  </a:lnTo>
                  <a:lnTo>
                    <a:pt x="1756" y="1719"/>
                  </a:lnTo>
                  <a:lnTo>
                    <a:pt x="1733" y="1753"/>
                  </a:lnTo>
                  <a:lnTo>
                    <a:pt x="1714" y="1785"/>
                  </a:lnTo>
                  <a:lnTo>
                    <a:pt x="1700" y="1813"/>
                  </a:lnTo>
                  <a:lnTo>
                    <a:pt x="1689" y="1839"/>
                  </a:lnTo>
                  <a:lnTo>
                    <a:pt x="1682" y="1864"/>
                  </a:lnTo>
                  <a:lnTo>
                    <a:pt x="1680" y="1888"/>
                  </a:lnTo>
                  <a:lnTo>
                    <a:pt x="1677" y="1934"/>
                  </a:lnTo>
                  <a:lnTo>
                    <a:pt x="1667" y="1980"/>
                  </a:lnTo>
                  <a:lnTo>
                    <a:pt x="1652" y="2025"/>
                  </a:lnTo>
                  <a:lnTo>
                    <a:pt x="1630" y="2068"/>
                  </a:lnTo>
                  <a:lnTo>
                    <a:pt x="1604" y="2110"/>
                  </a:lnTo>
                  <a:lnTo>
                    <a:pt x="1572" y="2150"/>
                  </a:lnTo>
                  <a:lnTo>
                    <a:pt x="1534" y="2187"/>
                  </a:lnTo>
                  <a:lnTo>
                    <a:pt x="1491" y="2221"/>
                  </a:lnTo>
                  <a:lnTo>
                    <a:pt x="1490" y="2242"/>
                  </a:lnTo>
                  <a:lnTo>
                    <a:pt x="1489" y="2267"/>
                  </a:lnTo>
                  <a:lnTo>
                    <a:pt x="1487" y="2294"/>
                  </a:lnTo>
                  <a:lnTo>
                    <a:pt x="1486" y="2322"/>
                  </a:lnTo>
                  <a:lnTo>
                    <a:pt x="1484" y="2350"/>
                  </a:lnTo>
                  <a:lnTo>
                    <a:pt x="1483" y="2378"/>
                  </a:lnTo>
                  <a:lnTo>
                    <a:pt x="1481" y="2405"/>
                  </a:lnTo>
                  <a:lnTo>
                    <a:pt x="1480" y="2429"/>
                  </a:lnTo>
                  <a:lnTo>
                    <a:pt x="1479" y="2449"/>
                  </a:lnTo>
                  <a:lnTo>
                    <a:pt x="1478" y="2466"/>
                  </a:lnTo>
                  <a:lnTo>
                    <a:pt x="1478" y="2476"/>
                  </a:lnTo>
                  <a:lnTo>
                    <a:pt x="1476" y="2479"/>
                  </a:lnTo>
                  <a:lnTo>
                    <a:pt x="1476" y="2492"/>
                  </a:lnTo>
                  <a:lnTo>
                    <a:pt x="1474" y="2506"/>
                  </a:lnTo>
                  <a:lnTo>
                    <a:pt x="1470" y="2522"/>
                  </a:lnTo>
                  <a:lnTo>
                    <a:pt x="1465" y="2539"/>
                  </a:lnTo>
                  <a:lnTo>
                    <a:pt x="1457" y="2557"/>
                  </a:lnTo>
                  <a:lnTo>
                    <a:pt x="1446" y="2575"/>
                  </a:lnTo>
                  <a:lnTo>
                    <a:pt x="1432" y="2594"/>
                  </a:lnTo>
                  <a:lnTo>
                    <a:pt x="1416" y="2613"/>
                  </a:lnTo>
                  <a:lnTo>
                    <a:pt x="1395" y="2631"/>
                  </a:lnTo>
                  <a:lnTo>
                    <a:pt x="1370" y="2650"/>
                  </a:lnTo>
                  <a:lnTo>
                    <a:pt x="1340" y="2666"/>
                  </a:lnTo>
                  <a:lnTo>
                    <a:pt x="1307" y="2683"/>
                  </a:lnTo>
                  <a:lnTo>
                    <a:pt x="1267" y="2698"/>
                  </a:lnTo>
                  <a:lnTo>
                    <a:pt x="1244" y="2727"/>
                  </a:lnTo>
                  <a:lnTo>
                    <a:pt x="1216" y="2754"/>
                  </a:lnTo>
                  <a:lnTo>
                    <a:pt x="1184" y="2779"/>
                  </a:lnTo>
                  <a:lnTo>
                    <a:pt x="1162" y="2790"/>
                  </a:lnTo>
                  <a:lnTo>
                    <a:pt x="1138" y="2798"/>
                  </a:lnTo>
                  <a:lnTo>
                    <a:pt x="1113" y="2800"/>
                  </a:lnTo>
                  <a:lnTo>
                    <a:pt x="916" y="2800"/>
                  </a:lnTo>
                  <a:lnTo>
                    <a:pt x="891" y="2798"/>
                  </a:lnTo>
                  <a:lnTo>
                    <a:pt x="867" y="2790"/>
                  </a:lnTo>
                  <a:lnTo>
                    <a:pt x="845" y="2779"/>
                  </a:lnTo>
                  <a:lnTo>
                    <a:pt x="813" y="2754"/>
                  </a:lnTo>
                  <a:lnTo>
                    <a:pt x="785" y="2727"/>
                  </a:lnTo>
                  <a:lnTo>
                    <a:pt x="762" y="2698"/>
                  </a:lnTo>
                  <a:lnTo>
                    <a:pt x="720" y="2681"/>
                  </a:lnTo>
                  <a:lnTo>
                    <a:pt x="684" y="2664"/>
                  </a:lnTo>
                  <a:lnTo>
                    <a:pt x="653" y="2646"/>
                  </a:lnTo>
                  <a:lnTo>
                    <a:pt x="628" y="2626"/>
                  </a:lnTo>
                  <a:lnTo>
                    <a:pt x="607" y="2606"/>
                  </a:lnTo>
                  <a:lnTo>
                    <a:pt x="590" y="2585"/>
                  </a:lnTo>
                  <a:lnTo>
                    <a:pt x="578" y="2566"/>
                  </a:lnTo>
                  <a:lnTo>
                    <a:pt x="567" y="2546"/>
                  </a:lnTo>
                  <a:lnTo>
                    <a:pt x="561" y="2527"/>
                  </a:lnTo>
                  <a:lnTo>
                    <a:pt x="556" y="2509"/>
                  </a:lnTo>
                  <a:lnTo>
                    <a:pt x="554" y="2494"/>
                  </a:lnTo>
                  <a:lnTo>
                    <a:pt x="552" y="2479"/>
                  </a:lnTo>
                  <a:lnTo>
                    <a:pt x="552" y="2479"/>
                  </a:lnTo>
                  <a:lnTo>
                    <a:pt x="552" y="2476"/>
                  </a:lnTo>
                  <a:lnTo>
                    <a:pt x="551" y="2466"/>
                  </a:lnTo>
                  <a:lnTo>
                    <a:pt x="550" y="2449"/>
                  </a:lnTo>
                  <a:lnTo>
                    <a:pt x="549" y="2429"/>
                  </a:lnTo>
                  <a:lnTo>
                    <a:pt x="548" y="2405"/>
                  </a:lnTo>
                  <a:lnTo>
                    <a:pt x="546" y="2378"/>
                  </a:lnTo>
                  <a:lnTo>
                    <a:pt x="545" y="2350"/>
                  </a:lnTo>
                  <a:lnTo>
                    <a:pt x="543" y="2322"/>
                  </a:lnTo>
                  <a:lnTo>
                    <a:pt x="542" y="2294"/>
                  </a:lnTo>
                  <a:lnTo>
                    <a:pt x="540" y="2267"/>
                  </a:lnTo>
                  <a:lnTo>
                    <a:pt x="539" y="2242"/>
                  </a:lnTo>
                  <a:lnTo>
                    <a:pt x="538" y="2221"/>
                  </a:lnTo>
                  <a:lnTo>
                    <a:pt x="495" y="2187"/>
                  </a:lnTo>
                  <a:lnTo>
                    <a:pt x="457" y="2150"/>
                  </a:lnTo>
                  <a:lnTo>
                    <a:pt x="425" y="2110"/>
                  </a:lnTo>
                  <a:lnTo>
                    <a:pt x="398" y="2068"/>
                  </a:lnTo>
                  <a:lnTo>
                    <a:pt x="376" y="2025"/>
                  </a:lnTo>
                  <a:lnTo>
                    <a:pt x="362" y="1980"/>
                  </a:lnTo>
                  <a:lnTo>
                    <a:pt x="352" y="1934"/>
                  </a:lnTo>
                  <a:lnTo>
                    <a:pt x="349" y="1888"/>
                  </a:lnTo>
                  <a:lnTo>
                    <a:pt x="347" y="1864"/>
                  </a:lnTo>
                  <a:lnTo>
                    <a:pt x="340" y="1839"/>
                  </a:lnTo>
                  <a:lnTo>
                    <a:pt x="329" y="1813"/>
                  </a:lnTo>
                  <a:lnTo>
                    <a:pt x="315" y="1785"/>
                  </a:lnTo>
                  <a:lnTo>
                    <a:pt x="296" y="1753"/>
                  </a:lnTo>
                  <a:lnTo>
                    <a:pt x="274" y="1719"/>
                  </a:lnTo>
                  <a:lnTo>
                    <a:pt x="248" y="1682"/>
                  </a:lnTo>
                  <a:lnTo>
                    <a:pt x="227" y="1650"/>
                  </a:lnTo>
                  <a:lnTo>
                    <a:pt x="205" y="1617"/>
                  </a:lnTo>
                  <a:lnTo>
                    <a:pt x="182" y="1583"/>
                  </a:lnTo>
                  <a:lnTo>
                    <a:pt x="160" y="1546"/>
                  </a:lnTo>
                  <a:lnTo>
                    <a:pt x="138" y="1508"/>
                  </a:lnTo>
                  <a:lnTo>
                    <a:pt x="116" y="1466"/>
                  </a:lnTo>
                  <a:lnTo>
                    <a:pt x="95" y="1424"/>
                  </a:lnTo>
                  <a:lnTo>
                    <a:pt x="76" y="1378"/>
                  </a:lnTo>
                  <a:lnTo>
                    <a:pt x="57" y="1329"/>
                  </a:lnTo>
                  <a:lnTo>
                    <a:pt x="41" y="1278"/>
                  </a:lnTo>
                  <a:lnTo>
                    <a:pt x="28" y="1224"/>
                  </a:lnTo>
                  <a:lnTo>
                    <a:pt x="16" y="1166"/>
                  </a:lnTo>
                  <a:lnTo>
                    <a:pt x="8" y="1105"/>
                  </a:lnTo>
                  <a:lnTo>
                    <a:pt x="2" y="1041"/>
                  </a:lnTo>
                  <a:lnTo>
                    <a:pt x="0" y="973"/>
                  </a:lnTo>
                  <a:lnTo>
                    <a:pt x="4" y="893"/>
                  </a:lnTo>
                  <a:lnTo>
                    <a:pt x="14" y="815"/>
                  </a:lnTo>
                  <a:lnTo>
                    <a:pt x="30" y="739"/>
                  </a:lnTo>
                  <a:lnTo>
                    <a:pt x="53" y="667"/>
                  </a:lnTo>
                  <a:lnTo>
                    <a:pt x="80" y="595"/>
                  </a:lnTo>
                  <a:lnTo>
                    <a:pt x="114" y="526"/>
                  </a:lnTo>
                  <a:lnTo>
                    <a:pt x="152" y="461"/>
                  </a:lnTo>
                  <a:lnTo>
                    <a:pt x="196" y="399"/>
                  </a:lnTo>
                  <a:lnTo>
                    <a:pt x="246" y="340"/>
                  </a:lnTo>
                  <a:lnTo>
                    <a:pt x="298" y="286"/>
                  </a:lnTo>
                  <a:lnTo>
                    <a:pt x="356" y="235"/>
                  </a:lnTo>
                  <a:lnTo>
                    <a:pt x="416" y="188"/>
                  </a:lnTo>
                  <a:lnTo>
                    <a:pt x="481" y="147"/>
                  </a:lnTo>
                  <a:lnTo>
                    <a:pt x="549" y="109"/>
                  </a:lnTo>
                  <a:lnTo>
                    <a:pt x="621" y="77"/>
                  </a:lnTo>
                  <a:lnTo>
                    <a:pt x="695" y="50"/>
                  </a:lnTo>
                  <a:lnTo>
                    <a:pt x="771" y="29"/>
                  </a:lnTo>
                  <a:lnTo>
                    <a:pt x="850" y="13"/>
                  </a:lnTo>
                  <a:lnTo>
                    <a:pt x="932" y="3"/>
                  </a:lnTo>
                  <a:lnTo>
                    <a:pt x="101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 panose="020B0502020104020203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3" name="Freeform 136">
              <a:extLst>
                <a:ext uri="{FF2B5EF4-FFF2-40B4-BE49-F238E27FC236}">
                  <a16:creationId xmlns:a16="http://schemas.microsoft.com/office/drawing/2014/main" id="{AE3ADA8D-4F42-4BB7-DDD4-A1CC03CF81B5}"/>
                </a:ext>
              </a:extLst>
            </p:cNvPr>
            <p:cNvSpPr>
              <a:spLocks/>
            </p:cNvSpPr>
            <p:nvPr/>
          </p:nvSpPr>
          <p:spPr bwMode="auto">
            <a:xfrm>
              <a:off x="800101" y="2925763"/>
              <a:ext cx="19050" cy="46038"/>
            </a:xfrm>
            <a:custGeom>
              <a:avLst/>
              <a:gdLst>
                <a:gd name="T0" fmla="*/ 63 w 127"/>
                <a:gd name="T1" fmla="*/ 0 h 318"/>
                <a:gd name="T2" fmla="*/ 63 w 127"/>
                <a:gd name="T3" fmla="*/ 0 h 318"/>
                <a:gd name="T4" fmla="*/ 80 w 127"/>
                <a:gd name="T5" fmla="*/ 2 h 318"/>
                <a:gd name="T6" fmla="*/ 96 w 127"/>
                <a:gd name="T7" fmla="*/ 9 h 318"/>
                <a:gd name="T8" fmla="*/ 109 w 127"/>
                <a:gd name="T9" fmla="*/ 19 h 318"/>
                <a:gd name="T10" fmla="*/ 119 w 127"/>
                <a:gd name="T11" fmla="*/ 32 h 318"/>
                <a:gd name="T12" fmla="*/ 125 w 127"/>
                <a:gd name="T13" fmla="*/ 47 h 318"/>
                <a:gd name="T14" fmla="*/ 127 w 127"/>
                <a:gd name="T15" fmla="*/ 64 h 318"/>
                <a:gd name="T16" fmla="*/ 127 w 127"/>
                <a:gd name="T17" fmla="*/ 254 h 318"/>
                <a:gd name="T18" fmla="*/ 125 w 127"/>
                <a:gd name="T19" fmla="*/ 272 h 318"/>
                <a:gd name="T20" fmla="*/ 119 w 127"/>
                <a:gd name="T21" fmla="*/ 286 h 318"/>
                <a:gd name="T22" fmla="*/ 109 w 127"/>
                <a:gd name="T23" fmla="*/ 300 h 318"/>
                <a:gd name="T24" fmla="*/ 96 w 127"/>
                <a:gd name="T25" fmla="*/ 309 h 318"/>
                <a:gd name="T26" fmla="*/ 80 w 127"/>
                <a:gd name="T27" fmla="*/ 315 h 318"/>
                <a:gd name="T28" fmla="*/ 63 w 127"/>
                <a:gd name="T29" fmla="*/ 318 h 318"/>
                <a:gd name="T30" fmla="*/ 47 w 127"/>
                <a:gd name="T31" fmla="*/ 315 h 318"/>
                <a:gd name="T32" fmla="*/ 31 w 127"/>
                <a:gd name="T33" fmla="*/ 309 h 318"/>
                <a:gd name="T34" fmla="*/ 18 w 127"/>
                <a:gd name="T35" fmla="*/ 300 h 318"/>
                <a:gd name="T36" fmla="*/ 8 w 127"/>
                <a:gd name="T37" fmla="*/ 286 h 318"/>
                <a:gd name="T38" fmla="*/ 2 w 127"/>
                <a:gd name="T39" fmla="*/ 272 h 318"/>
                <a:gd name="T40" fmla="*/ 0 w 127"/>
                <a:gd name="T41" fmla="*/ 254 h 318"/>
                <a:gd name="T42" fmla="*/ 0 w 127"/>
                <a:gd name="T43" fmla="*/ 64 h 318"/>
                <a:gd name="T44" fmla="*/ 2 w 127"/>
                <a:gd name="T45" fmla="*/ 47 h 318"/>
                <a:gd name="T46" fmla="*/ 8 w 127"/>
                <a:gd name="T47" fmla="*/ 32 h 318"/>
                <a:gd name="T48" fmla="*/ 18 w 127"/>
                <a:gd name="T49" fmla="*/ 19 h 318"/>
                <a:gd name="T50" fmla="*/ 31 w 127"/>
                <a:gd name="T51" fmla="*/ 9 h 318"/>
                <a:gd name="T52" fmla="*/ 47 w 127"/>
                <a:gd name="T53" fmla="*/ 2 h 318"/>
                <a:gd name="T54" fmla="*/ 63 w 127"/>
                <a:gd name="T55" fmla="*/ 0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27" h="318">
                  <a:moveTo>
                    <a:pt x="63" y="0"/>
                  </a:moveTo>
                  <a:lnTo>
                    <a:pt x="63" y="0"/>
                  </a:lnTo>
                  <a:lnTo>
                    <a:pt x="80" y="2"/>
                  </a:lnTo>
                  <a:lnTo>
                    <a:pt x="96" y="9"/>
                  </a:lnTo>
                  <a:lnTo>
                    <a:pt x="109" y="19"/>
                  </a:lnTo>
                  <a:lnTo>
                    <a:pt x="119" y="32"/>
                  </a:lnTo>
                  <a:lnTo>
                    <a:pt x="125" y="47"/>
                  </a:lnTo>
                  <a:lnTo>
                    <a:pt x="127" y="64"/>
                  </a:lnTo>
                  <a:lnTo>
                    <a:pt x="127" y="254"/>
                  </a:lnTo>
                  <a:lnTo>
                    <a:pt x="125" y="272"/>
                  </a:lnTo>
                  <a:lnTo>
                    <a:pt x="119" y="286"/>
                  </a:lnTo>
                  <a:lnTo>
                    <a:pt x="109" y="300"/>
                  </a:lnTo>
                  <a:lnTo>
                    <a:pt x="96" y="309"/>
                  </a:lnTo>
                  <a:lnTo>
                    <a:pt x="80" y="315"/>
                  </a:lnTo>
                  <a:lnTo>
                    <a:pt x="63" y="318"/>
                  </a:lnTo>
                  <a:lnTo>
                    <a:pt x="47" y="315"/>
                  </a:lnTo>
                  <a:lnTo>
                    <a:pt x="31" y="309"/>
                  </a:lnTo>
                  <a:lnTo>
                    <a:pt x="18" y="300"/>
                  </a:lnTo>
                  <a:lnTo>
                    <a:pt x="8" y="286"/>
                  </a:lnTo>
                  <a:lnTo>
                    <a:pt x="2" y="272"/>
                  </a:lnTo>
                  <a:lnTo>
                    <a:pt x="0" y="254"/>
                  </a:lnTo>
                  <a:lnTo>
                    <a:pt x="0" y="64"/>
                  </a:lnTo>
                  <a:lnTo>
                    <a:pt x="2" y="47"/>
                  </a:lnTo>
                  <a:lnTo>
                    <a:pt x="8" y="32"/>
                  </a:lnTo>
                  <a:lnTo>
                    <a:pt x="18" y="19"/>
                  </a:lnTo>
                  <a:lnTo>
                    <a:pt x="31" y="9"/>
                  </a:lnTo>
                  <a:lnTo>
                    <a:pt x="47" y="2"/>
                  </a:lnTo>
                  <a:lnTo>
                    <a:pt x="6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 panose="020B0502020104020203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4" name="Freeform 137">
              <a:extLst>
                <a:ext uri="{FF2B5EF4-FFF2-40B4-BE49-F238E27FC236}">
                  <a16:creationId xmlns:a16="http://schemas.microsoft.com/office/drawing/2014/main" id="{62AD8B41-00C3-3222-012C-83F1F95A137E}"/>
                </a:ext>
              </a:extLst>
            </p:cNvPr>
            <p:cNvSpPr>
              <a:spLocks/>
            </p:cNvSpPr>
            <p:nvPr/>
          </p:nvSpPr>
          <p:spPr bwMode="auto">
            <a:xfrm>
              <a:off x="696913" y="2954338"/>
              <a:ext cx="31750" cy="41275"/>
            </a:xfrm>
            <a:custGeom>
              <a:avLst/>
              <a:gdLst>
                <a:gd name="T0" fmla="*/ 64 w 224"/>
                <a:gd name="T1" fmla="*/ 0 h 293"/>
                <a:gd name="T2" fmla="*/ 80 w 224"/>
                <a:gd name="T3" fmla="*/ 2 h 293"/>
                <a:gd name="T4" fmla="*/ 95 w 224"/>
                <a:gd name="T5" fmla="*/ 8 h 293"/>
                <a:gd name="T6" fmla="*/ 109 w 224"/>
                <a:gd name="T7" fmla="*/ 18 h 293"/>
                <a:gd name="T8" fmla="*/ 119 w 224"/>
                <a:gd name="T9" fmla="*/ 32 h 293"/>
                <a:gd name="T10" fmla="*/ 216 w 224"/>
                <a:gd name="T11" fmla="*/ 197 h 293"/>
                <a:gd name="T12" fmla="*/ 222 w 224"/>
                <a:gd name="T13" fmla="*/ 213 h 293"/>
                <a:gd name="T14" fmla="*/ 224 w 224"/>
                <a:gd name="T15" fmla="*/ 230 h 293"/>
                <a:gd name="T16" fmla="*/ 222 w 224"/>
                <a:gd name="T17" fmla="*/ 245 h 293"/>
                <a:gd name="T18" fmla="*/ 216 w 224"/>
                <a:gd name="T19" fmla="*/ 261 h 293"/>
                <a:gd name="T20" fmla="*/ 206 w 224"/>
                <a:gd name="T21" fmla="*/ 274 h 293"/>
                <a:gd name="T22" fmla="*/ 193 w 224"/>
                <a:gd name="T23" fmla="*/ 285 h 293"/>
                <a:gd name="T24" fmla="*/ 177 w 224"/>
                <a:gd name="T25" fmla="*/ 291 h 293"/>
                <a:gd name="T26" fmla="*/ 160 w 224"/>
                <a:gd name="T27" fmla="*/ 293 h 293"/>
                <a:gd name="T28" fmla="*/ 143 w 224"/>
                <a:gd name="T29" fmla="*/ 291 h 293"/>
                <a:gd name="T30" fmla="*/ 129 w 224"/>
                <a:gd name="T31" fmla="*/ 285 h 293"/>
                <a:gd name="T32" fmla="*/ 115 w 224"/>
                <a:gd name="T33" fmla="*/ 274 h 293"/>
                <a:gd name="T34" fmla="*/ 105 w 224"/>
                <a:gd name="T35" fmla="*/ 261 h 293"/>
                <a:gd name="T36" fmla="*/ 8 w 224"/>
                <a:gd name="T37" fmla="*/ 95 h 293"/>
                <a:gd name="T38" fmla="*/ 2 w 224"/>
                <a:gd name="T39" fmla="*/ 80 h 293"/>
                <a:gd name="T40" fmla="*/ 0 w 224"/>
                <a:gd name="T41" fmla="*/ 63 h 293"/>
                <a:gd name="T42" fmla="*/ 2 w 224"/>
                <a:gd name="T43" fmla="*/ 48 h 293"/>
                <a:gd name="T44" fmla="*/ 8 w 224"/>
                <a:gd name="T45" fmla="*/ 32 h 293"/>
                <a:gd name="T46" fmla="*/ 19 w 224"/>
                <a:gd name="T47" fmla="*/ 19 h 293"/>
                <a:gd name="T48" fmla="*/ 31 w 224"/>
                <a:gd name="T49" fmla="*/ 9 h 293"/>
                <a:gd name="T50" fmla="*/ 48 w 224"/>
                <a:gd name="T51" fmla="*/ 2 h 293"/>
                <a:gd name="T52" fmla="*/ 64 w 224"/>
                <a:gd name="T53" fmla="*/ 0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24" h="293">
                  <a:moveTo>
                    <a:pt x="64" y="0"/>
                  </a:moveTo>
                  <a:lnTo>
                    <a:pt x="80" y="2"/>
                  </a:lnTo>
                  <a:lnTo>
                    <a:pt x="95" y="8"/>
                  </a:lnTo>
                  <a:lnTo>
                    <a:pt x="109" y="18"/>
                  </a:lnTo>
                  <a:lnTo>
                    <a:pt x="119" y="32"/>
                  </a:lnTo>
                  <a:lnTo>
                    <a:pt x="216" y="197"/>
                  </a:lnTo>
                  <a:lnTo>
                    <a:pt x="222" y="213"/>
                  </a:lnTo>
                  <a:lnTo>
                    <a:pt x="224" y="230"/>
                  </a:lnTo>
                  <a:lnTo>
                    <a:pt x="222" y="245"/>
                  </a:lnTo>
                  <a:lnTo>
                    <a:pt x="216" y="261"/>
                  </a:lnTo>
                  <a:lnTo>
                    <a:pt x="206" y="274"/>
                  </a:lnTo>
                  <a:lnTo>
                    <a:pt x="193" y="285"/>
                  </a:lnTo>
                  <a:lnTo>
                    <a:pt x="177" y="291"/>
                  </a:lnTo>
                  <a:lnTo>
                    <a:pt x="160" y="293"/>
                  </a:lnTo>
                  <a:lnTo>
                    <a:pt x="143" y="291"/>
                  </a:lnTo>
                  <a:lnTo>
                    <a:pt x="129" y="285"/>
                  </a:lnTo>
                  <a:lnTo>
                    <a:pt x="115" y="274"/>
                  </a:lnTo>
                  <a:lnTo>
                    <a:pt x="105" y="261"/>
                  </a:lnTo>
                  <a:lnTo>
                    <a:pt x="8" y="95"/>
                  </a:lnTo>
                  <a:lnTo>
                    <a:pt x="2" y="80"/>
                  </a:lnTo>
                  <a:lnTo>
                    <a:pt x="0" y="63"/>
                  </a:lnTo>
                  <a:lnTo>
                    <a:pt x="2" y="48"/>
                  </a:lnTo>
                  <a:lnTo>
                    <a:pt x="8" y="32"/>
                  </a:lnTo>
                  <a:lnTo>
                    <a:pt x="19" y="19"/>
                  </a:lnTo>
                  <a:lnTo>
                    <a:pt x="31" y="9"/>
                  </a:lnTo>
                  <a:lnTo>
                    <a:pt x="48" y="2"/>
                  </a:lnTo>
                  <a:lnTo>
                    <a:pt x="6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 panose="020B0502020104020203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5" name="Freeform 138">
              <a:extLst>
                <a:ext uri="{FF2B5EF4-FFF2-40B4-BE49-F238E27FC236}">
                  <a16:creationId xmlns:a16="http://schemas.microsoft.com/office/drawing/2014/main" id="{CBEDF997-B354-9E45-B3B1-F6B8D5588ECC}"/>
                </a:ext>
              </a:extLst>
            </p:cNvPr>
            <p:cNvSpPr>
              <a:spLocks/>
            </p:cNvSpPr>
            <p:nvPr/>
          </p:nvSpPr>
          <p:spPr bwMode="auto">
            <a:xfrm>
              <a:off x="620713" y="3028950"/>
              <a:ext cx="41275" cy="33338"/>
            </a:xfrm>
            <a:custGeom>
              <a:avLst/>
              <a:gdLst>
                <a:gd name="T0" fmla="*/ 64 w 294"/>
                <a:gd name="T1" fmla="*/ 0 h 222"/>
                <a:gd name="T2" fmla="*/ 79 w 294"/>
                <a:gd name="T3" fmla="*/ 2 h 222"/>
                <a:gd name="T4" fmla="*/ 96 w 294"/>
                <a:gd name="T5" fmla="*/ 8 h 222"/>
                <a:gd name="T6" fmla="*/ 263 w 294"/>
                <a:gd name="T7" fmla="*/ 103 h 222"/>
                <a:gd name="T8" fmla="*/ 276 w 294"/>
                <a:gd name="T9" fmla="*/ 114 h 222"/>
                <a:gd name="T10" fmla="*/ 286 w 294"/>
                <a:gd name="T11" fmla="*/ 127 h 222"/>
                <a:gd name="T12" fmla="*/ 292 w 294"/>
                <a:gd name="T13" fmla="*/ 142 h 222"/>
                <a:gd name="T14" fmla="*/ 294 w 294"/>
                <a:gd name="T15" fmla="*/ 158 h 222"/>
                <a:gd name="T16" fmla="*/ 292 w 294"/>
                <a:gd name="T17" fmla="*/ 175 h 222"/>
                <a:gd name="T18" fmla="*/ 286 w 294"/>
                <a:gd name="T19" fmla="*/ 190 h 222"/>
                <a:gd name="T20" fmla="*/ 275 w 294"/>
                <a:gd name="T21" fmla="*/ 204 h 222"/>
                <a:gd name="T22" fmla="*/ 262 w 294"/>
                <a:gd name="T23" fmla="*/ 214 h 222"/>
                <a:gd name="T24" fmla="*/ 246 w 294"/>
                <a:gd name="T25" fmla="*/ 220 h 222"/>
                <a:gd name="T26" fmla="*/ 230 w 294"/>
                <a:gd name="T27" fmla="*/ 222 h 222"/>
                <a:gd name="T28" fmla="*/ 213 w 294"/>
                <a:gd name="T29" fmla="*/ 220 h 222"/>
                <a:gd name="T30" fmla="*/ 198 w 294"/>
                <a:gd name="T31" fmla="*/ 213 h 222"/>
                <a:gd name="T32" fmla="*/ 31 w 294"/>
                <a:gd name="T33" fmla="*/ 118 h 222"/>
                <a:gd name="T34" fmla="*/ 18 w 294"/>
                <a:gd name="T35" fmla="*/ 108 h 222"/>
                <a:gd name="T36" fmla="*/ 8 w 294"/>
                <a:gd name="T37" fmla="*/ 95 h 222"/>
                <a:gd name="T38" fmla="*/ 2 w 294"/>
                <a:gd name="T39" fmla="*/ 80 h 222"/>
                <a:gd name="T40" fmla="*/ 0 w 294"/>
                <a:gd name="T41" fmla="*/ 63 h 222"/>
                <a:gd name="T42" fmla="*/ 2 w 294"/>
                <a:gd name="T43" fmla="*/ 47 h 222"/>
                <a:gd name="T44" fmla="*/ 8 w 294"/>
                <a:gd name="T45" fmla="*/ 31 h 222"/>
                <a:gd name="T46" fmla="*/ 19 w 294"/>
                <a:gd name="T47" fmla="*/ 18 h 222"/>
                <a:gd name="T48" fmla="*/ 32 w 294"/>
                <a:gd name="T49" fmla="*/ 8 h 222"/>
                <a:gd name="T50" fmla="*/ 47 w 294"/>
                <a:gd name="T51" fmla="*/ 2 h 222"/>
                <a:gd name="T52" fmla="*/ 64 w 294"/>
                <a:gd name="T53" fmla="*/ 0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94" h="222">
                  <a:moveTo>
                    <a:pt x="64" y="0"/>
                  </a:moveTo>
                  <a:lnTo>
                    <a:pt x="79" y="2"/>
                  </a:lnTo>
                  <a:lnTo>
                    <a:pt x="96" y="8"/>
                  </a:lnTo>
                  <a:lnTo>
                    <a:pt x="263" y="103"/>
                  </a:lnTo>
                  <a:lnTo>
                    <a:pt x="276" y="114"/>
                  </a:lnTo>
                  <a:lnTo>
                    <a:pt x="286" y="127"/>
                  </a:lnTo>
                  <a:lnTo>
                    <a:pt x="292" y="142"/>
                  </a:lnTo>
                  <a:lnTo>
                    <a:pt x="294" y="158"/>
                  </a:lnTo>
                  <a:lnTo>
                    <a:pt x="292" y="175"/>
                  </a:lnTo>
                  <a:lnTo>
                    <a:pt x="286" y="190"/>
                  </a:lnTo>
                  <a:lnTo>
                    <a:pt x="275" y="204"/>
                  </a:lnTo>
                  <a:lnTo>
                    <a:pt x="262" y="214"/>
                  </a:lnTo>
                  <a:lnTo>
                    <a:pt x="246" y="220"/>
                  </a:lnTo>
                  <a:lnTo>
                    <a:pt x="230" y="222"/>
                  </a:lnTo>
                  <a:lnTo>
                    <a:pt x="213" y="220"/>
                  </a:lnTo>
                  <a:lnTo>
                    <a:pt x="198" y="213"/>
                  </a:lnTo>
                  <a:lnTo>
                    <a:pt x="31" y="118"/>
                  </a:lnTo>
                  <a:lnTo>
                    <a:pt x="18" y="108"/>
                  </a:lnTo>
                  <a:lnTo>
                    <a:pt x="8" y="95"/>
                  </a:lnTo>
                  <a:lnTo>
                    <a:pt x="2" y="80"/>
                  </a:lnTo>
                  <a:lnTo>
                    <a:pt x="0" y="63"/>
                  </a:lnTo>
                  <a:lnTo>
                    <a:pt x="2" y="47"/>
                  </a:lnTo>
                  <a:lnTo>
                    <a:pt x="8" y="31"/>
                  </a:lnTo>
                  <a:lnTo>
                    <a:pt x="19" y="18"/>
                  </a:lnTo>
                  <a:lnTo>
                    <a:pt x="32" y="8"/>
                  </a:lnTo>
                  <a:lnTo>
                    <a:pt x="47" y="2"/>
                  </a:lnTo>
                  <a:lnTo>
                    <a:pt x="6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 panose="020B0502020104020203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6" name="Freeform 139">
              <a:extLst>
                <a:ext uri="{FF2B5EF4-FFF2-40B4-BE49-F238E27FC236}">
                  <a16:creationId xmlns:a16="http://schemas.microsoft.com/office/drawing/2014/main" id="{5362E6FA-D21E-A398-15BF-BFEA9F24DDE9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138" y="3132138"/>
              <a:ext cx="46038" cy="19050"/>
            </a:xfrm>
            <a:custGeom>
              <a:avLst/>
              <a:gdLst>
                <a:gd name="T0" fmla="*/ 64 w 321"/>
                <a:gd name="T1" fmla="*/ 0 h 128"/>
                <a:gd name="T2" fmla="*/ 257 w 321"/>
                <a:gd name="T3" fmla="*/ 0 h 128"/>
                <a:gd name="T4" fmla="*/ 273 w 321"/>
                <a:gd name="T5" fmla="*/ 4 h 128"/>
                <a:gd name="T6" fmla="*/ 289 w 321"/>
                <a:gd name="T7" fmla="*/ 10 h 128"/>
                <a:gd name="T8" fmla="*/ 302 w 321"/>
                <a:gd name="T9" fmla="*/ 19 h 128"/>
                <a:gd name="T10" fmla="*/ 312 w 321"/>
                <a:gd name="T11" fmla="*/ 33 h 128"/>
                <a:gd name="T12" fmla="*/ 318 w 321"/>
                <a:gd name="T13" fmla="*/ 47 h 128"/>
                <a:gd name="T14" fmla="*/ 321 w 321"/>
                <a:gd name="T15" fmla="*/ 65 h 128"/>
                <a:gd name="T16" fmla="*/ 318 w 321"/>
                <a:gd name="T17" fmla="*/ 82 h 128"/>
                <a:gd name="T18" fmla="*/ 312 w 321"/>
                <a:gd name="T19" fmla="*/ 96 h 128"/>
                <a:gd name="T20" fmla="*/ 302 w 321"/>
                <a:gd name="T21" fmla="*/ 110 h 128"/>
                <a:gd name="T22" fmla="*/ 289 w 321"/>
                <a:gd name="T23" fmla="*/ 119 h 128"/>
                <a:gd name="T24" fmla="*/ 273 w 321"/>
                <a:gd name="T25" fmla="*/ 126 h 128"/>
                <a:gd name="T26" fmla="*/ 257 w 321"/>
                <a:gd name="T27" fmla="*/ 128 h 128"/>
                <a:gd name="T28" fmla="*/ 64 w 321"/>
                <a:gd name="T29" fmla="*/ 128 h 128"/>
                <a:gd name="T30" fmla="*/ 47 w 321"/>
                <a:gd name="T31" fmla="*/ 126 h 128"/>
                <a:gd name="T32" fmla="*/ 32 w 321"/>
                <a:gd name="T33" fmla="*/ 119 h 128"/>
                <a:gd name="T34" fmla="*/ 19 w 321"/>
                <a:gd name="T35" fmla="*/ 110 h 128"/>
                <a:gd name="T36" fmla="*/ 9 w 321"/>
                <a:gd name="T37" fmla="*/ 96 h 128"/>
                <a:gd name="T38" fmla="*/ 2 w 321"/>
                <a:gd name="T39" fmla="*/ 82 h 128"/>
                <a:gd name="T40" fmla="*/ 0 w 321"/>
                <a:gd name="T41" fmla="*/ 65 h 128"/>
                <a:gd name="T42" fmla="*/ 2 w 321"/>
                <a:gd name="T43" fmla="*/ 47 h 128"/>
                <a:gd name="T44" fmla="*/ 9 w 321"/>
                <a:gd name="T45" fmla="*/ 33 h 128"/>
                <a:gd name="T46" fmla="*/ 19 w 321"/>
                <a:gd name="T47" fmla="*/ 19 h 128"/>
                <a:gd name="T48" fmla="*/ 32 w 321"/>
                <a:gd name="T49" fmla="*/ 10 h 128"/>
                <a:gd name="T50" fmla="*/ 47 w 321"/>
                <a:gd name="T51" fmla="*/ 4 h 128"/>
                <a:gd name="T52" fmla="*/ 64 w 321"/>
                <a:gd name="T53" fmla="*/ 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21" h="128">
                  <a:moveTo>
                    <a:pt x="64" y="0"/>
                  </a:moveTo>
                  <a:lnTo>
                    <a:pt x="257" y="0"/>
                  </a:lnTo>
                  <a:lnTo>
                    <a:pt x="273" y="4"/>
                  </a:lnTo>
                  <a:lnTo>
                    <a:pt x="289" y="10"/>
                  </a:lnTo>
                  <a:lnTo>
                    <a:pt x="302" y="19"/>
                  </a:lnTo>
                  <a:lnTo>
                    <a:pt x="312" y="33"/>
                  </a:lnTo>
                  <a:lnTo>
                    <a:pt x="318" y="47"/>
                  </a:lnTo>
                  <a:lnTo>
                    <a:pt x="321" y="65"/>
                  </a:lnTo>
                  <a:lnTo>
                    <a:pt x="318" y="82"/>
                  </a:lnTo>
                  <a:lnTo>
                    <a:pt x="312" y="96"/>
                  </a:lnTo>
                  <a:lnTo>
                    <a:pt x="302" y="110"/>
                  </a:lnTo>
                  <a:lnTo>
                    <a:pt x="289" y="119"/>
                  </a:lnTo>
                  <a:lnTo>
                    <a:pt x="273" y="126"/>
                  </a:lnTo>
                  <a:lnTo>
                    <a:pt x="257" y="128"/>
                  </a:lnTo>
                  <a:lnTo>
                    <a:pt x="64" y="128"/>
                  </a:lnTo>
                  <a:lnTo>
                    <a:pt x="47" y="126"/>
                  </a:lnTo>
                  <a:lnTo>
                    <a:pt x="32" y="119"/>
                  </a:lnTo>
                  <a:lnTo>
                    <a:pt x="19" y="110"/>
                  </a:lnTo>
                  <a:lnTo>
                    <a:pt x="9" y="96"/>
                  </a:lnTo>
                  <a:lnTo>
                    <a:pt x="2" y="82"/>
                  </a:lnTo>
                  <a:lnTo>
                    <a:pt x="0" y="65"/>
                  </a:lnTo>
                  <a:lnTo>
                    <a:pt x="2" y="47"/>
                  </a:lnTo>
                  <a:lnTo>
                    <a:pt x="9" y="33"/>
                  </a:lnTo>
                  <a:lnTo>
                    <a:pt x="19" y="19"/>
                  </a:lnTo>
                  <a:lnTo>
                    <a:pt x="32" y="10"/>
                  </a:lnTo>
                  <a:lnTo>
                    <a:pt x="47" y="4"/>
                  </a:lnTo>
                  <a:lnTo>
                    <a:pt x="6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 panose="020B0502020104020203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7" name="Freeform 140">
              <a:extLst>
                <a:ext uri="{FF2B5EF4-FFF2-40B4-BE49-F238E27FC236}">
                  <a16:creationId xmlns:a16="http://schemas.microsoft.com/office/drawing/2014/main" id="{B14E0B81-4322-5D3B-926A-DC3D5C555564}"/>
                </a:ext>
              </a:extLst>
            </p:cNvPr>
            <p:cNvSpPr>
              <a:spLocks/>
            </p:cNvSpPr>
            <p:nvPr/>
          </p:nvSpPr>
          <p:spPr bwMode="auto">
            <a:xfrm>
              <a:off x="620713" y="3222625"/>
              <a:ext cx="41275" cy="31750"/>
            </a:xfrm>
            <a:custGeom>
              <a:avLst/>
              <a:gdLst>
                <a:gd name="T0" fmla="*/ 230 w 294"/>
                <a:gd name="T1" fmla="*/ 0 h 224"/>
                <a:gd name="T2" fmla="*/ 247 w 294"/>
                <a:gd name="T3" fmla="*/ 3 h 224"/>
                <a:gd name="T4" fmla="*/ 262 w 294"/>
                <a:gd name="T5" fmla="*/ 9 h 224"/>
                <a:gd name="T6" fmla="*/ 275 w 294"/>
                <a:gd name="T7" fmla="*/ 19 h 224"/>
                <a:gd name="T8" fmla="*/ 286 w 294"/>
                <a:gd name="T9" fmla="*/ 33 h 224"/>
                <a:gd name="T10" fmla="*/ 292 w 294"/>
                <a:gd name="T11" fmla="*/ 48 h 224"/>
                <a:gd name="T12" fmla="*/ 294 w 294"/>
                <a:gd name="T13" fmla="*/ 65 h 224"/>
                <a:gd name="T14" fmla="*/ 292 w 294"/>
                <a:gd name="T15" fmla="*/ 80 h 224"/>
                <a:gd name="T16" fmla="*/ 286 w 294"/>
                <a:gd name="T17" fmla="*/ 96 h 224"/>
                <a:gd name="T18" fmla="*/ 275 w 294"/>
                <a:gd name="T19" fmla="*/ 110 h 224"/>
                <a:gd name="T20" fmla="*/ 263 w 294"/>
                <a:gd name="T21" fmla="*/ 120 h 224"/>
                <a:gd name="T22" fmla="*/ 96 w 294"/>
                <a:gd name="T23" fmla="*/ 215 h 224"/>
                <a:gd name="T24" fmla="*/ 80 w 294"/>
                <a:gd name="T25" fmla="*/ 221 h 224"/>
                <a:gd name="T26" fmla="*/ 64 w 294"/>
                <a:gd name="T27" fmla="*/ 224 h 224"/>
                <a:gd name="T28" fmla="*/ 47 w 294"/>
                <a:gd name="T29" fmla="*/ 221 h 224"/>
                <a:gd name="T30" fmla="*/ 32 w 294"/>
                <a:gd name="T31" fmla="*/ 216 h 224"/>
                <a:gd name="T32" fmla="*/ 19 w 294"/>
                <a:gd name="T33" fmla="*/ 205 h 224"/>
                <a:gd name="T34" fmla="*/ 8 w 294"/>
                <a:gd name="T35" fmla="*/ 192 h 224"/>
                <a:gd name="T36" fmla="*/ 2 w 294"/>
                <a:gd name="T37" fmla="*/ 176 h 224"/>
                <a:gd name="T38" fmla="*/ 0 w 294"/>
                <a:gd name="T39" fmla="*/ 159 h 224"/>
                <a:gd name="T40" fmla="*/ 2 w 294"/>
                <a:gd name="T41" fmla="*/ 144 h 224"/>
                <a:gd name="T42" fmla="*/ 8 w 294"/>
                <a:gd name="T43" fmla="*/ 128 h 224"/>
                <a:gd name="T44" fmla="*/ 18 w 294"/>
                <a:gd name="T45" fmla="*/ 116 h 224"/>
                <a:gd name="T46" fmla="*/ 31 w 294"/>
                <a:gd name="T47" fmla="*/ 105 h 224"/>
                <a:gd name="T48" fmla="*/ 198 w 294"/>
                <a:gd name="T49" fmla="*/ 10 h 224"/>
                <a:gd name="T50" fmla="*/ 215 w 294"/>
                <a:gd name="T51" fmla="*/ 2 h 224"/>
                <a:gd name="T52" fmla="*/ 230 w 294"/>
                <a:gd name="T53" fmla="*/ 0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94" h="224">
                  <a:moveTo>
                    <a:pt x="230" y="0"/>
                  </a:moveTo>
                  <a:lnTo>
                    <a:pt x="247" y="3"/>
                  </a:lnTo>
                  <a:lnTo>
                    <a:pt x="262" y="9"/>
                  </a:lnTo>
                  <a:lnTo>
                    <a:pt x="275" y="19"/>
                  </a:lnTo>
                  <a:lnTo>
                    <a:pt x="286" y="33"/>
                  </a:lnTo>
                  <a:lnTo>
                    <a:pt x="292" y="48"/>
                  </a:lnTo>
                  <a:lnTo>
                    <a:pt x="294" y="65"/>
                  </a:lnTo>
                  <a:lnTo>
                    <a:pt x="292" y="80"/>
                  </a:lnTo>
                  <a:lnTo>
                    <a:pt x="286" y="96"/>
                  </a:lnTo>
                  <a:lnTo>
                    <a:pt x="275" y="110"/>
                  </a:lnTo>
                  <a:lnTo>
                    <a:pt x="263" y="120"/>
                  </a:lnTo>
                  <a:lnTo>
                    <a:pt x="96" y="215"/>
                  </a:lnTo>
                  <a:lnTo>
                    <a:pt x="80" y="221"/>
                  </a:lnTo>
                  <a:lnTo>
                    <a:pt x="64" y="224"/>
                  </a:lnTo>
                  <a:lnTo>
                    <a:pt x="47" y="221"/>
                  </a:lnTo>
                  <a:lnTo>
                    <a:pt x="32" y="216"/>
                  </a:lnTo>
                  <a:lnTo>
                    <a:pt x="19" y="205"/>
                  </a:lnTo>
                  <a:lnTo>
                    <a:pt x="8" y="192"/>
                  </a:lnTo>
                  <a:lnTo>
                    <a:pt x="2" y="176"/>
                  </a:lnTo>
                  <a:lnTo>
                    <a:pt x="0" y="159"/>
                  </a:lnTo>
                  <a:lnTo>
                    <a:pt x="2" y="144"/>
                  </a:lnTo>
                  <a:lnTo>
                    <a:pt x="8" y="128"/>
                  </a:lnTo>
                  <a:lnTo>
                    <a:pt x="18" y="116"/>
                  </a:lnTo>
                  <a:lnTo>
                    <a:pt x="31" y="105"/>
                  </a:lnTo>
                  <a:lnTo>
                    <a:pt x="198" y="10"/>
                  </a:lnTo>
                  <a:lnTo>
                    <a:pt x="215" y="2"/>
                  </a:lnTo>
                  <a:lnTo>
                    <a:pt x="23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 panose="020B0502020104020203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8" name="Freeform 141">
              <a:extLst>
                <a:ext uri="{FF2B5EF4-FFF2-40B4-BE49-F238E27FC236}">
                  <a16:creationId xmlns:a16="http://schemas.microsoft.com/office/drawing/2014/main" id="{32F45026-BF83-DF8C-FF18-259B4693026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263" y="3222625"/>
              <a:ext cx="41275" cy="31750"/>
            </a:xfrm>
            <a:custGeom>
              <a:avLst/>
              <a:gdLst>
                <a:gd name="T0" fmla="*/ 64 w 294"/>
                <a:gd name="T1" fmla="*/ 0 h 224"/>
                <a:gd name="T2" fmla="*/ 80 w 294"/>
                <a:gd name="T3" fmla="*/ 2 h 224"/>
                <a:gd name="T4" fmla="*/ 96 w 294"/>
                <a:gd name="T5" fmla="*/ 10 h 224"/>
                <a:gd name="T6" fmla="*/ 263 w 294"/>
                <a:gd name="T7" fmla="*/ 105 h 224"/>
                <a:gd name="T8" fmla="*/ 276 w 294"/>
                <a:gd name="T9" fmla="*/ 116 h 224"/>
                <a:gd name="T10" fmla="*/ 286 w 294"/>
                <a:gd name="T11" fmla="*/ 128 h 224"/>
                <a:gd name="T12" fmla="*/ 292 w 294"/>
                <a:gd name="T13" fmla="*/ 144 h 224"/>
                <a:gd name="T14" fmla="*/ 294 w 294"/>
                <a:gd name="T15" fmla="*/ 159 h 224"/>
                <a:gd name="T16" fmla="*/ 292 w 294"/>
                <a:gd name="T17" fmla="*/ 176 h 224"/>
                <a:gd name="T18" fmla="*/ 286 w 294"/>
                <a:gd name="T19" fmla="*/ 192 h 224"/>
                <a:gd name="T20" fmla="*/ 275 w 294"/>
                <a:gd name="T21" fmla="*/ 205 h 224"/>
                <a:gd name="T22" fmla="*/ 262 w 294"/>
                <a:gd name="T23" fmla="*/ 216 h 224"/>
                <a:gd name="T24" fmla="*/ 247 w 294"/>
                <a:gd name="T25" fmla="*/ 221 h 224"/>
                <a:gd name="T26" fmla="*/ 230 w 294"/>
                <a:gd name="T27" fmla="*/ 224 h 224"/>
                <a:gd name="T28" fmla="*/ 214 w 294"/>
                <a:gd name="T29" fmla="*/ 221 h 224"/>
                <a:gd name="T30" fmla="*/ 198 w 294"/>
                <a:gd name="T31" fmla="*/ 215 h 224"/>
                <a:gd name="T32" fmla="*/ 31 w 294"/>
                <a:gd name="T33" fmla="*/ 120 h 224"/>
                <a:gd name="T34" fmla="*/ 19 w 294"/>
                <a:gd name="T35" fmla="*/ 110 h 224"/>
                <a:gd name="T36" fmla="*/ 8 w 294"/>
                <a:gd name="T37" fmla="*/ 96 h 224"/>
                <a:gd name="T38" fmla="*/ 2 w 294"/>
                <a:gd name="T39" fmla="*/ 80 h 224"/>
                <a:gd name="T40" fmla="*/ 0 w 294"/>
                <a:gd name="T41" fmla="*/ 65 h 224"/>
                <a:gd name="T42" fmla="*/ 2 w 294"/>
                <a:gd name="T43" fmla="*/ 48 h 224"/>
                <a:gd name="T44" fmla="*/ 8 w 294"/>
                <a:gd name="T45" fmla="*/ 33 h 224"/>
                <a:gd name="T46" fmla="*/ 19 w 294"/>
                <a:gd name="T47" fmla="*/ 19 h 224"/>
                <a:gd name="T48" fmla="*/ 32 w 294"/>
                <a:gd name="T49" fmla="*/ 9 h 224"/>
                <a:gd name="T50" fmla="*/ 47 w 294"/>
                <a:gd name="T51" fmla="*/ 3 h 224"/>
                <a:gd name="T52" fmla="*/ 64 w 294"/>
                <a:gd name="T53" fmla="*/ 0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94" h="224">
                  <a:moveTo>
                    <a:pt x="64" y="0"/>
                  </a:moveTo>
                  <a:lnTo>
                    <a:pt x="80" y="2"/>
                  </a:lnTo>
                  <a:lnTo>
                    <a:pt x="96" y="10"/>
                  </a:lnTo>
                  <a:lnTo>
                    <a:pt x="263" y="105"/>
                  </a:lnTo>
                  <a:lnTo>
                    <a:pt x="276" y="116"/>
                  </a:lnTo>
                  <a:lnTo>
                    <a:pt x="286" y="128"/>
                  </a:lnTo>
                  <a:lnTo>
                    <a:pt x="292" y="144"/>
                  </a:lnTo>
                  <a:lnTo>
                    <a:pt x="294" y="159"/>
                  </a:lnTo>
                  <a:lnTo>
                    <a:pt x="292" y="176"/>
                  </a:lnTo>
                  <a:lnTo>
                    <a:pt x="286" y="192"/>
                  </a:lnTo>
                  <a:lnTo>
                    <a:pt x="275" y="205"/>
                  </a:lnTo>
                  <a:lnTo>
                    <a:pt x="262" y="216"/>
                  </a:lnTo>
                  <a:lnTo>
                    <a:pt x="247" y="221"/>
                  </a:lnTo>
                  <a:lnTo>
                    <a:pt x="230" y="224"/>
                  </a:lnTo>
                  <a:lnTo>
                    <a:pt x="214" y="221"/>
                  </a:lnTo>
                  <a:lnTo>
                    <a:pt x="198" y="215"/>
                  </a:lnTo>
                  <a:lnTo>
                    <a:pt x="31" y="120"/>
                  </a:lnTo>
                  <a:lnTo>
                    <a:pt x="19" y="110"/>
                  </a:lnTo>
                  <a:lnTo>
                    <a:pt x="8" y="96"/>
                  </a:lnTo>
                  <a:lnTo>
                    <a:pt x="2" y="80"/>
                  </a:lnTo>
                  <a:lnTo>
                    <a:pt x="0" y="65"/>
                  </a:lnTo>
                  <a:lnTo>
                    <a:pt x="2" y="48"/>
                  </a:lnTo>
                  <a:lnTo>
                    <a:pt x="8" y="33"/>
                  </a:lnTo>
                  <a:lnTo>
                    <a:pt x="19" y="19"/>
                  </a:lnTo>
                  <a:lnTo>
                    <a:pt x="32" y="9"/>
                  </a:lnTo>
                  <a:lnTo>
                    <a:pt x="47" y="3"/>
                  </a:lnTo>
                  <a:lnTo>
                    <a:pt x="6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 panose="020B0502020104020203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9" name="Freeform 142">
              <a:extLst>
                <a:ext uri="{FF2B5EF4-FFF2-40B4-BE49-F238E27FC236}">
                  <a16:creationId xmlns:a16="http://schemas.microsoft.com/office/drawing/2014/main" id="{3811E121-4AC2-5935-DD33-4E3A9B815B71}"/>
                </a:ext>
              </a:extLst>
            </p:cNvPr>
            <p:cNvSpPr>
              <a:spLocks/>
            </p:cNvSpPr>
            <p:nvPr/>
          </p:nvSpPr>
          <p:spPr bwMode="auto">
            <a:xfrm>
              <a:off x="981076" y="3132138"/>
              <a:ext cx="46038" cy="19050"/>
            </a:xfrm>
            <a:custGeom>
              <a:avLst/>
              <a:gdLst>
                <a:gd name="T0" fmla="*/ 64 w 321"/>
                <a:gd name="T1" fmla="*/ 0 h 128"/>
                <a:gd name="T2" fmla="*/ 257 w 321"/>
                <a:gd name="T3" fmla="*/ 0 h 128"/>
                <a:gd name="T4" fmla="*/ 274 w 321"/>
                <a:gd name="T5" fmla="*/ 4 h 128"/>
                <a:gd name="T6" fmla="*/ 290 w 321"/>
                <a:gd name="T7" fmla="*/ 10 h 128"/>
                <a:gd name="T8" fmla="*/ 302 w 321"/>
                <a:gd name="T9" fmla="*/ 19 h 128"/>
                <a:gd name="T10" fmla="*/ 312 w 321"/>
                <a:gd name="T11" fmla="*/ 33 h 128"/>
                <a:gd name="T12" fmla="*/ 319 w 321"/>
                <a:gd name="T13" fmla="*/ 47 h 128"/>
                <a:gd name="T14" fmla="*/ 321 w 321"/>
                <a:gd name="T15" fmla="*/ 65 h 128"/>
                <a:gd name="T16" fmla="*/ 319 w 321"/>
                <a:gd name="T17" fmla="*/ 82 h 128"/>
                <a:gd name="T18" fmla="*/ 312 w 321"/>
                <a:gd name="T19" fmla="*/ 96 h 128"/>
                <a:gd name="T20" fmla="*/ 302 w 321"/>
                <a:gd name="T21" fmla="*/ 110 h 128"/>
                <a:gd name="T22" fmla="*/ 290 w 321"/>
                <a:gd name="T23" fmla="*/ 119 h 128"/>
                <a:gd name="T24" fmla="*/ 274 w 321"/>
                <a:gd name="T25" fmla="*/ 126 h 128"/>
                <a:gd name="T26" fmla="*/ 257 w 321"/>
                <a:gd name="T27" fmla="*/ 128 h 128"/>
                <a:gd name="T28" fmla="*/ 64 w 321"/>
                <a:gd name="T29" fmla="*/ 128 h 128"/>
                <a:gd name="T30" fmla="*/ 48 w 321"/>
                <a:gd name="T31" fmla="*/ 126 h 128"/>
                <a:gd name="T32" fmla="*/ 32 w 321"/>
                <a:gd name="T33" fmla="*/ 119 h 128"/>
                <a:gd name="T34" fmla="*/ 19 w 321"/>
                <a:gd name="T35" fmla="*/ 110 h 128"/>
                <a:gd name="T36" fmla="*/ 9 w 321"/>
                <a:gd name="T37" fmla="*/ 96 h 128"/>
                <a:gd name="T38" fmla="*/ 3 w 321"/>
                <a:gd name="T39" fmla="*/ 82 h 128"/>
                <a:gd name="T40" fmla="*/ 0 w 321"/>
                <a:gd name="T41" fmla="*/ 65 h 128"/>
                <a:gd name="T42" fmla="*/ 3 w 321"/>
                <a:gd name="T43" fmla="*/ 47 h 128"/>
                <a:gd name="T44" fmla="*/ 9 w 321"/>
                <a:gd name="T45" fmla="*/ 33 h 128"/>
                <a:gd name="T46" fmla="*/ 19 w 321"/>
                <a:gd name="T47" fmla="*/ 19 h 128"/>
                <a:gd name="T48" fmla="*/ 32 w 321"/>
                <a:gd name="T49" fmla="*/ 10 h 128"/>
                <a:gd name="T50" fmla="*/ 48 w 321"/>
                <a:gd name="T51" fmla="*/ 4 h 128"/>
                <a:gd name="T52" fmla="*/ 64 w 321"/>
                <a:gd name="T53" fmla="*/ 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21" h="128">
                  <a:moveTo>
                    <a:pt x="64" y="0"/>
                  </a:moveTo>
                  <a:lnTo>
                    <a:pt x="257" y="0"/>
                  </a:lnTo>
                  <a:lnTo>
                    <a:pt x="274" y="4"/>
                  </a:lnTo>
                  <a:lnTo>
                    <a:pt x="290" y="10"/>
                  </a:lnTo>
                  <a:lnTo>
                    <a:pt x="302" y="19"/>
                  </a:lnTo>
                  <a:lnTo>
                    <a:pt x="312" y="33"/>
                  </a:lnTo>
                  <a:lnTo>
                    <a:pt x="319" y="47"/>
                  </a:lnTo>
                  <a:lnTo>
                    <a:pt x="321" y="65"/>
                  </a:lnTo>
                  <a:lnTo>
                    <a:pt x="319" y="82"/>
                  </a:lnTo>
                  <a:lnTo>
                    <a:pt x="312" y="96"/>
                  </a:lnTo>
                  <a:lnTo>
                    <a:pt x="302" y="110"/>
                  </a:lnTo>
                  <a:lnTo>
                    <a:pt x="290" y="119"/>
                  </a:lnTo>
                  <a:lnTo>
                    <a:pt x="274" y="126"/>
                  </a:lnTo>
                  <a:lnTo>
                    <a:pt x="257" y="128"/>
                  </a:lnTo>
                  <a:lnTo>
                    <a:pt x="64" y="128"/>
                  </a:lnTo>
                  <a:lnTo>
                    <a:pt x="48" y="126"/>
                  </a:lnTo>
                  <a:lnTo>
                    <a:pt x="32" y="119"/>
                  </a:lnTo>
                  <a:lnTo>
                    <a:pt x="19" y="110"/>
                  </a:lnTo>
                  <a:lnTo>
                    <a:pt x="9" y="96"/>
                  </a:lnTo>
                  <a:lnTo>
                    <a:pt x="3" y="82"/>
                  </a:lnTo>
                  <a:lnTo>
                    <a:pt x="0" y="65"/>
                  </a:lnTo>
                  <a:lnTo>
                    <a:pt x="3" y="47"/>
                  </a:lnTo>
                  <a:lnTo>
                    <a:pt x="9" y="33"/>
                  </a:lnTo>
                  <a:lnTo>
                    <a:pt x="19" y="19"/>
                  </a:lnTo>
                  <a:lnTo>
                    <a:pt x="32" y="10"/>
                  </a:lnTo>
                  <a:lnTo>
                    <a:pt x="48" y="4"/>
                  </a:lnTo>
                  <a:lnTo>
                    <a:pt x="6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 panose="020B0502020104020203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0" name="Freeform 143">
              <a:extLst>
                <a:ext uri="{FF2B5EF4-FFF2-40B4-BE49-F238E27FC236}">
                  <a16:creationId xmlns:a16="http://schemas.microsoft.com/office/drawing/2014/main" id="{3BA8299A-8AA4-4A91-1E10-8C71F70CFB2F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263" y="3028950"/>
              <a:ext cx="41275" cy="33338"/>
            </a:xfrm>
            <a:custGeom>
              <a:avLst/>
              <a:gdLst>
                <a:gd name="T0" fmla="*/ 230 w 294"/>
                <a:gd name="T1" fmla="*/ 0 h 222"/>
                <a:gd name="T2" fmla="*/ 247 w 294"/>
                <a:gd name="T3" fmla="*/ 2 h 222"/>
                <a:gd name="T4" fmla="*/ 262 w 294"/>
                <a:gd name="T5" fmla="*/ 8 h 222"/>
                <a:gd name="T6" fmla="*/ 275 w 294"/>
                <a:gd name="T7" fmla="*/ 18 h 222"/>
                <a:gd name="T8" fmla="*/ 286 w 294"/>
                <a:gd name="T9" fmla="*/ 31 h 222"/>
                <a:gd name="T10" fmla="*/ 292 w 294"/>
                <a:gd name="T11" fmla="*/ 47 h 222"/>
                <a:gd name="T12" fmla="*/ 294 w 294"/>
                <a:gd name="T13" fmla="*/ 63 h 222"/>
                <a:gd name="T14" fmla="*/ 292 w 294"/>
                <a:gd name="T15" fmla="*/ 80 h 222"/>
                <a:gd name="T16" fmla="*/ 286 w 294"/>
                <a:gd name="T17" fmla="*/ 95 h 222"/>
                <a:gd name="T18" fmla="*/ 276 w 294"/>
                <a:gd name="T19" fmla="*/ 108 h 222"/>
                <a:gd name="T20" fmla="*/ 263 w 294"/>
                <a:gd name="T21" fmla="*/ 118 h 222"/>
                <a:gd name="T22" fmla="*/ 96 w 294"/>
                <a:gd name="T23" fmla="*/ 213 h 222"/>
                <a:gd name="T24" fmla="*/ 80 w 294"/>
                <a:gd name="T25" fmla="*/ 220 h 222"/>
                <a:gd name="T26" fmla="*/ 64 w 294"/>
                <a:gd name="T27" fmla="*/ 222 h 222"/>
                <a:gd name="T28" fmla="*/ 48 w 294"/>
                <a:gd name="T29" fmla="*/ 220 h 222"/>
                <a:gd name="T30" fmla="*/ 32 w 294"/>
                <a:gd name="T31" fmla="*/ 214 h 222"/>
                <a:gd name="T32" fmla="*/ 19 w 294"/>
                <a:gd name="T33" fmla="*/ 204 h 222"/>
                <a:gd name="T34" fmla="*/ 8 w 294"/>
                <a:gd name="T35" fmla="*/ 190 h 222"/>
                <a:gd name="T36" fmla="*/ 2 w 294"/>
                <a:gd name="T37" fmla="*/ 175 h 222"/>
                <a:gd name="T38" fmla="*/ 0 w 294"/>
                <a:gd name="T39" fmla="*/ 158 h 222"/>
                <a:gd name="T40" fmla="*/ 2 w 294"/>
                <a:gd name="T41" fmla="*/ 142 h 222"/>
                <a:gd name="T42" fmla="*/ 8 w 294"/>
                <a:gd name="T43" fmla="*/ 127 h 222"/>
                <a:gd name="T44" fmla="*/ 19 w 294"/>
                <a:gd name="T45" fmla="*/ 114 h 222"/>
                <a:gd name="T46" fmla="*/ 31 w 294"/>
                <a:gd name="T47" fmla="*/ 103 h 222"/>
                <a:gd name="T48" fmla="*/ 198 w 294"/>
                <a:gd name="T49" fmla="*/ 8 h 222"/>
                <a:gd name="T50" fmla="*/ 215 w 294"/>
                <a:gd name="T51" fmla="*/ 2 h 222"/>
                <a:gd name="T52" fmla="*/ 230 w 294"/>
                <a:gd name="T53" fmla="*/ 0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94" h="222">
                  <a:moveTo>
                    <a:pt x="230" y="0"/>
                  </a:moveTo>
                  <a:lnTo>
                    <a:pt x="247" y="2"/>
                  </a:lnTo>
                  <a:lnTo>
                    <a:pt x="262" y="8"/>
                  </a:lnTo>
                  <a:lnTo>
                    <a:pt x="275" y="18"/>
                  </a:lnTo>
                  <a:lnTo>
                    <a:pt x="286" y="31"/>
                  </a:lnTo>
                  <a:lnTo>
                    <a:pt x="292" y="47"/>
                  </a:lnTo>
                  <a:lnTo>
                    <a:pt x="294" y="63"/>
                  </a:lnTo>
                  <a:lnTo>
                    <a:pt x="292" y="80"/>
                  </a:lnTo>
                  <a:lnTo>
                    <a:pt x="286" y="95"/>
                  </a:lnTo>
                  <a:lnTo>
                    <a:pt x="276" y="108"/>
                  </a:lnTo>
                  <a:lnTo>
                    <a:pt x="263" y="118"/>
                  </a:lnTo>
                  <a:lnTo>
                    <a:pt x="96" y="213"/>
                  </a:lnTo>
                  <a:lnTo>
                    <a:pt x="80" y="220"/>
                  </a:lnTo>
                  <a:lnTo>
                    <a:pt x="64" y="222"/>
                  </a:lnTo>
                  <a:lnTo>
                    <a:pt x="48" y="220"/>
                  </a:lnTo>
                  <a:lnTo>
                    <a:pt x="32" y="214"/>
                  </a:lnTo>
                  <a:lnTo>
                    <a:pt x="19" y="204"/>
                  </a:lnTo>
                  <a:lnTo>
                    <a:pt x="8" y="190"/>
                  </a:lnTo>
                  <a:lnTo>
                    <a:pt x="2" y="175"/>
                  </a:lnTo>
                  <a:lnTo>
                    <a:pt x="0" y="158"/>
                  </a:lnTo>
                  <a:lnTo>
                    <a:pt x="2" y="142"/>
                  </a:lnTo>
                  <a:lnTo>
                    <a:pt x="8" y="127"/>
                  </a:lnTo>
                  <a:lnTo>
                    <a:pt x="19" y="114"/>
                  </a:lnTo>
                  <a:lnTo>
                    <a:pt x="31" y="103"/>
                  </a:lnTo>
                  <a:lnTo>
                    <a:pt x="198" y="8"/>
                  </a:lnTo>
                  <a:lnTo>
                    <a:pt x="215" y="2"/>
                  </a:lnTo>
                  <a:lnTo>
                    <a:pt x="23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 panose="020B0502020104020203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1" name="Freeform 144">
              <a:extLst>
                <a:ext uri="{FF2B5EF4-FFF2-40B4-BE49-F238E27FC236}">
                  <a16:creationId xmlns:a16="http://schemas.microsoft.com/office/drawing/2014/main" id="{9D731979-6300-1EF8-80C8-5C801EFDE684}"/>
                </a:ext>
              </a:extLst>
            </p:cNvPr>
            <p:cNvSpPr>
              <a:spLocks/>
            </p:cNvSpPr>
            <p:nvPr/>
          </p:nvSpPr>
          <p:spPr bwMode="auto">
            <a:xfrm>
              <a:off x="890588" y="2954338"/>
              <a:ext cx="31750" cy="41275"/>
            </a:xfrm>
            <a:custGeom>
              <a:avLst/>
              <a:gdLst>
                <a:gd name="T0" fmla="*/ 159 w 224"/>
                <a:gd name="T1" fmla="*/ 0 h 292"/>
                <a:gd name="T2" fmla="*/ 176 w 224"/>
                <a:gd name="T3" fmla="*/ 2 h 292"/>
                <a:gd name="T4" fmla="*/ 192 w 224"/>
                <a:gd name="T5" fmla="*/ 9 h 292"/>
                <a:gd name="T6" fmla="*/ 205 w 224"/>
                <a:gd name="T7" fmla="*/ 19 h 292"/>
                <a:gd name="T8" fmla="*/ 216 w 224"/>
                <a:gd name="T9" fmla="*/ 32 h 292"/>
                <a:gd name="T10" fmla="*/ 222 w 224"/>
                <a:gd name="T11" fmla="*/ 48 h 292"/>
                <a:gd name="T12" fmla="*/ 224 w 224"/>
                <a:gd name="T13" fmla="*/ 63 h 292"/>
                <a:gd name="T14" fmla="*/ 222 w 224"/>
                <a:gd name="T15" fmla="*/ 80 h 292"/>
                <a:gd name="T16" fmla="*/ 216 w 224"/>
                <a:gd name="T17" fmla="*/ 95 h 292"/>
                <a:gd name="T18" fmla="*/ 119 w 224"/>
                <a:gd name="T19" fmla="*/ 261 h 292"/>
                <a:gd name="T20" fmla="*/ 109 w 224"/>
                <a:gd name="T21" fmla="*/ 274 h 292"/>
                <a:gd name="T22" fmla="*/ 95 w 224"/>
                <a:gd name="T23" fmla="*/ 285 h 292"/>
                <a:gd name="T24" fmla="*/ 81 w 224"/>
                <a:gd name="T25" fmla="*/ 290 h 292"/>
                <a:gd name="T26" fmla="*/ 64 w 224"/>
                <a:gd name="T27" fmla="*/ 292 h 292"/>
                <a:gd name="T28" fmla="*/ 48 w 224"/>
                <a:gd name="T29" fmla="*/ 290 h 292"/>
                <a:gd name="T30" fmla="*/ 32 w 224"/>
                <a:gd name="T31" fmla="*/ 284 h 292"/>
                <a:gd name="T32" fmla="*/ 18 w 224"/>
                <a:gd name="T33" fmla="*/ 273 h 292"/>
                <a:gd name="T34" fmla="*/ 8 w 224"/>
                <a:gd name="T35" fmla="*/ 261 h 292"/>
                <a:gd name="T36" fmla="*/ 2 w 224"/>
                <a:gd name="T37" fmla="*/ 245 h 292"/>
                <a:gd name="T38" fmla="*/ 0 w 224"/>
                <a:gd name="T39" fmla="*/ 230 h 292"/>
                <a:gd name="T40" fmla="*/ 2 w 224"/>
                <a:gd name="T41" fmla="*/ 213 h 292"/>
                <a:gd name="T42" fmla="*/ 8 w 224"/>
                <a:gd name="T43" fmla="*/ 197 h 292"/>
                <a:gd name="T44" fmla="*/ 105 w 224"/>
                <a:gd name="T45" fmla="*/ 32 h 292"/>
                <a:gd name="T46" fmla="*/ 115 w 224"/>
                <a:gd name="T47" fmla="*/ 18 h 292"/>
                <a:gd name="T48" fmla="*/ 129 w 224"/>
                <a:gd name="T49" fmla="*/ 8 h 292"/>
                <a:gd name="T50" fmla="*/ 144 w 224"/>
                <a:gd name="T51" fmla="*/ 2 h 292"/>
                <a:gd name="T52" fmla="*/ 159 w 224"/>
                <a:gd name="T53" fmla="*/ 0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24" h="292">
                  <a:moveTo>
                    <a:pt x="159" y="0"/>
                  </a:moveTo>
                  <a:lnTo>
                    <a:pt x="176" y="2"/>
                  </a:lnTo>
                  <a:lnTo>
                    <a:pt x="192" y="9"/>
                  </a:lnTo>
                  <a:lnTo>
                    <a:pt x="205" y="19"/>
                  </a:lnTo>
                  <a:lnTo>
                    <a:pt x="216" y="32"/>
                  </a:lnTo>
                  <a:lnTo>
                    <a:pt x="222" y="48"/>
                  </a:lnTo>
                  <a:lnTo>
                    <a:pt x="224" y="63"/>
                  </a:lnTo>
                  <a:lnTo>
                    <a:pt x="222" y="80"/>
                  </a:lnTo>
                  <a:lnTo>
                    <a:pt x="216" y="95"/>
                  </a:lnTo>
                  <a:lnTo>
                    <a:pt x="119" y="261"/>
                  </a:lnTo>
                  <a:lnTo>
                    <a:pt x="109" y="274"/>
                  </a:lnTo>
                  <a:lnTo>
                    <a:pt x="95" y="285"/>
                  </a:lnTo>
                  <a:lnTo>
                    <a:pt x="81" y="290"/>
                  </a:lnTo>
                  <a:lnTo>
                    <a:pt x="64" y="292"/>
                  </a:lnTo>
                  <a:lnTo>
                    <a:pt x="48" y="290"/>
                  </a:lnTo>
                  <a:lnTo>
                    <a:pt x="32" y="284"/>
                  </a:lnTo>
                  <a:lnTo>
                    <a:pt x="18" y="273"/>
                  </a:lnTo>
                  <a:lnTo>
                    <a:pt x="8" y="261"/>
                  </a:lnTo>
                  <a:lnTo>
                    <a:pt x="2" y="245"/>
                  </a:lnTo>
                  <a:lnTo>
                    <a:pt x="0" y="230"/>
                  </a:lnTo>
                  <a:lnTo>
                    <a:pt x="2" y="213"/>
                  </a:lnTo>
                  <a:lnTo>
                    <a:pt x="8" y="197"/>
                  </a:lnTo>
                  <a:lnTo>
                    <a:pt x="105" y="32"/>
                  </a:lnTo>
                  <a:lnTo>
                    <a:pt x="115" y="18"/>
                  </a:lnTo>
                  <a:lnTo>
                    <a:pt x="129" y="8"/>
                  </a:lnTo>
                  <a:lnTo>
                    <a:pt x="144" y="2"/>
                  </a:lnTo>
                  <a:lnTo>
                    <a:pt x="15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 panose="020B0502020104020203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2" name="Freeform 145">
              <a:extLst>
                <a:ext uri="{FF2B5EF4-FFF2-40B4-BE49-F238E27FC236}">
                  <a16:creationId xmlns:a16="http://schemas.microsoft.com/office/drawing/2014/main" id="{CE27EFC0-B375-FD0A-AF15-2F25C4C77197}"/>
                </a:ext>
              </a:extLst>
            </p:cNvPr>
            <p:cNvSpPr>
              <a:spLocks/>
            </p:cNvSpPr>
            <p:nvPr/>
          </p:nvSpPr>
          <p:spPr bwMode="auto">
            <a:xfrm>
              <a:off x="787401" y="3065463"/>
              <a:ext cx="44450" cy="142875"/>
            </a:xfrm>
            <a:custGeom>
              <a:avLst/>
              <a:gdLst>
                <a:gd name="T0" fmla="*/ 154 w 308"/>
                <a:gd name="T1" fmla="*/ 0 h 991"/>
                <a:gd name="T2" fmla="*/ 186 w 308"/>
                <a:gd name="T3" fmla="*/ 2 h 991"/>
                <a:gd name="T4" fmla="*/ 213 w 308"/>
                <a:gd name="T5" fmla="*/ 8 h 991"/>
                <a:gd name="T6" fmla="*/ 238 w 308"/>
                <a:gd name="T7" fmla="*/ 17 h 991"/>
                <a:gd name="T8" fmla="*/ 259 w 308"/>
                <a:gd name="T9" fmla="*/ 30 h 991"/>
                <a:gd name="T10" fmla="*/ 277 w 308"/>
                <a:gd name="T11" fmla="*/ 47 h 991"/>
                <a:gd name="T12" fmla="*/ 291 w 308"/>
                <a:gd name="T13" fmla="*/ 67 h 991"/>
                <a:gd name="T14" fmla="*/ 301 w 308"/>
                <a:gd name="T15" fmla="*/ 91 h 991"/>
                <a:gd name="T16" fmla="*/ 306 w 308"/>
                <a:gd name="T17" fmla="*/ 119 h 991"/>
                <a:gd name="T18" fmla="*/ 308 w 308"/>
                <a:gd name="T19" fmla="*/ 150 h 991"/>
                <a:gd name="T20" fmla="*/ 308 w 308"/>
                <a:gd name="T21" fmla="*/ 375 h 991"/>
                <a:gd name="T22" fmla="*/ 307 w 308"/>
                <a:gd name="T23" fmla="*/ 405 h 991"/>
                <a:gd name="T24" fmla="*/ 304 w 308"/>
                <a:gd name="T25" fmla="*/ 435 h 991"/>
                <a:gd name="T26" fmla="*/ 301 w 308"/>
                <a:gd name="T27" fmla="*/ 466 h 991"/>
                <a:gd name="T28" fmla="*/ 240 w 308"/>
                <a:gd name="T29" fmla="*/ 920 h 991"/>
                <a:gd name="T30" fmla="*/ 236 w 308"/>
                <a:gd name="T31" fmla="*/ 942 h 991"/>
                <a:gd name="T32" fmla="*/ 229 w 308"/>
                <a:gd name="T33" fmla="*/ 959 h 991"/>
                <a:gd name="T34" fmla="*/ 219 w 308"/>
                <a:gd name="T35" fmla="*/ 972 h 991"/>
                <a:gd name="T36" fmla="*/ 207 w 308"/>
                <a:gd name="T37" fmla="*/ 981 h 991"/>
                <a:gd name="T38" fmla="*/ 192 w 308"/>
                <a:gd name="T39" fmla="*/ 987 h 991"/>
                <a:gd name="T40" fmla="*/ 174 w 308"/>
                <a:gd name="T41" fmla="*/ 990 h 991"/>
                <a:gd name="T42" fmla="*/ 154 w 308"/>
                <a:gd name="T43" fmla="*/ 991 h 991"/>
                <a:gd name="T44" fmla="*/ 135 w 308"/>
                <a:gd name="T45" fmla="*/ 990 h 991"/>
                <a:gd name="T46" fmla="*/ 117 w 308"/>
                <a:gd name="T47" fmla="*/ 987 h 991"/>
                <a:gd name="T48" fmla="*/ 102 w 308"/>
                <a:gd name="T49" fmla="*/ 981 h 991"/>
                <a:gd name="T50" fmla="*/ 90 w 308"/>
                <a:gd name="T51" fmla="*/ 972 h 991"/>
                <a:gd name="T52" fmla="*/ 80 w 308"/>
                <a:gd name="T53" fmla="*/ 959 h 991"/>
                <a:gd name="T54" fmla="*/ 73 w 308"/>
                <a:gd name="T55" fmla="*/ 942 h 991"/>
                <a:gd name="T56" fmla="*/ 69 w 308"/>
                <a:gd name="T57" fmla="*/ 920 h 991"/>
                <a:gd name="T58" fmla="*/ 8 w 308"/>
                <a:gd name="T59" fmla="*/ 466 h 991"/>
                <a:gd name="T60" fmla="*/ 5 w 308"/>
                <a:gd name="T61" fmla="*/ 435 h 991"/>
                <a:gd name="T62" fmla="*/ 2 w 308"/>
                <a:gd name="T63" fmla="*/ 405 h 991"/>
                <a:gd name="T64" fmla="*/ 0 w 308"/>
                <a:gd name="T65" fmla="*/ 375 h 991"/>
                <a:gd name="T66" fmla="*/ 0 w 308"/>
                <a:gd name="T67" fmla="*/ 150 h 991"/>
                <a:gd name="T68" fmla="*/ 3 w 308"/>
                <a:gd name="T69" fmla="*/ 119 h 991"/>
                <a:gd name="T70" fmla="*/ 8 w 308"/>
                <a:gd name="T71" fmla="*/ 91 h 991"/>
                <a:gd name="T72" fmla="*/ 18 w 308"/>
                <a:gd name="T73" fmla="*/ 67 h 991"/>
                <a:gd name="T74" fmla="*/ 32 w 308"/>
                <a:gd name="T75" fmla="*/ 47 h 991"/>
                <a:gd name="T76" fmla="*/ 50 w 308"/>
                <a:gd name="T77" fmla="*/ 30 h 991"/>
                <a:gd name="T78" fmla="*/ 71 w 308"/>
                <a:gd name="T79" fmla="*/ 17 h 991"/>
                <a:gd name="T80" fmla="*/ 96 w 308"/>
                <a:gd name="T81" fmla="*/ 8 h 991"/>
                <a:gd name="T82" fmla="*/ 123 w 308"/>
                <a:gd name="T83" fmla="*/ 2 h 991"/>
                <a:gd name="T84" fmla="*/ 154 w 308"/>
                <a:gd name="T85" fmla="*/ 0 h 9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08" h="991">
                  <a:moveTo>
                    <a:pt x="154" y="0"/>
                  </a:moveTo>
                  <a:lnTo>
                    <a:pt x="186" y="2"/>
                  </a:lnTo>
                  <a:lnTo>
                    <a:pt x="213" y="8"/>
                  </a:lnTo>
                  <a:lnTo>
                    <a:pt x="238" y="17"/>
                  </a:lnTo>
                  <a:lnTo>
                    <a:pt x="259" y="30"/>
                  </a:lnTo>
                  <a:lnTo>
                    <a:pt x="277" y="47"/>
                  </a:lnTo>
                  <a:lnTo>
                    <a:pt x="291" y="67"/>
                  </a:lnTo>
                  <a:lnTo>
                    <a:pt x="301" y="91"/>
                  </a:lnTo>
                  <a:lnTo>
                    <a:pt x="306" y="119"/>
                  </a:lnTo>
                  <a:lnTo>
                    <a:pt x="308" y="150"/>
                  </a:lnTo>
                  <a:lnTo>
                    <a:pt x="308" y="375"/>
                  </a:lnTo>
                  <a:lnTo>
                    <a:pt x="307" y="405"/>
                  </a:lnTo>
                  <a:lnTo>
                    <a:pt x="304" y="435"/>
                  </a:lnTo>
                  <a:lnTo>
                    <a:pt x="301" y="466"/>
                  </a:lnTo>
                  <a:lnTo>
                    <a:pt x="240" y="920"/>
                  </a:lnTo>
                  <a:lnTo>
                    <a:pt x="236" y="942"/>
                  </a:lnTo>
                  <a:lnTo>
                    <a:pt x="229" y="959"/>
                  </a:lnTo>
                  <a:lnTo>
                    <a:pt x="219" y="972"/>
                  </a:lnTo>
                  <a:lnTo>
                    <a:pt x="207" y="981"/>
                  </a:lnTo>
                  <a:lnTo>
                    <a:pt x="192" y="987"/>
                  </a:lnTo>
                  <a:lnTo>
                    <a:pt x="174" y="990"/>
                  </a:lnTo>
                  <a:lnTo>
                    <a:pt x="154" y="991"/>
                  </a:lnTo>
                  <a:lnTo>
                    <a:pt x="135" y="990"/>
                  </a:lnTo>
                  <a:lnTo>
                    <a:pt x="117" y="987"/>
                  </a:lnTo>
                  <a:lnTo>
                    <a:pt x="102" y="981"/>
                  </a:lnTo>
                  <a:lnTo>
                    <a:pt x="90" y="972"/>
                  </a:lnTo>
                  <a:lnTo>
                    <a:pt x="80" y="959"/>
                  </a:lnTo>
                  <a:lnTo>
                    <a:pt x="73" y="942"/>
                  </a:lnTo>
                  <a:lnTo>
                    <a:pt x="69" y="920"/>
                  </a:lnTo>
                  <a:lnTo>
                    <a:pt x="8" y="466"/>
                  </a:lnTo>
                  <a:lnTo>
                    <a:pt x="5" y="435"/>
                  </a:lnTo>
                  <a:lnTo>
                    <a:pt x="2" y="405"/>
                  </a:lnTo>
                  <a:lnTo>
                    <a:pt x="0" y="375"/>
                  </a:lnTo>
                  <a:lnTo>
                    <a:pt x="0" y="150"/>
                  </a:lnTo>
                  <a:lnTo>
                    <a:pt x="3" y="119"/>
                  </a:lnTo>
                  <a:lnTo>
                    <a:pt x="8" y="91"/>
                  </a:lnTo>
                  <a:lnTo>
                    <a:pt x="18" y="67"/>
                  </a:lnTo>
                  <a:lnTo>
                    <a:pt x="32" y="47"/>
                  </a:lnTo>
                  <a:lnTo>
                    <a:pt x="50" y="30"/>
                  </a:lnTo>
                  <a:lnTo>
                    <a:pt x="71" y="17"/>
                  </a:lnTo>
                  <a:lnTo>
                    <a:pt x="96" y="8"/>
                  </a:lnTo>
                  <a:lnTo>
                    <a:pt x="123" y="2"/>
                  </a:lnTo>
                  <a:lnTo>
                    <a:pt x="15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 panose="020B0502020104020203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3" name="Freeform 146">
              <a:extLst>
                <a:ext uri="{FF2B5EF4-FFF2-40B4-BE49-F238E27FC236}">
                  <a16:creationId xmlns:a16="http://schemas.microsoft.com/office/drawing/2014/main" id="{96BA8A11-BB63-18C6-1595-A3C13850EBF5}"/>
                </a:ext>
              </a:extLst>
            </p:cNvPr>
            <p:cNvSpPr>
              <a:spLocks/>
            </p:cNvSpPr>
            <p:nvPr/>
          </p:nvSpPr>
          <p:spPr bwMode="auto">
            <a:xfrm>
              <a:off x="785813" y="3225800"/>
              <a:ext cx="47625" cy="46038"/>
            </a:xfrm>
            <a:custGeom>
              <a:avLst/>
              <a:gdLst>
                <a:gd name="T0" fmla="*/ 160 w 321"/>
                <a:gd name="T1" fmla="*/ 0 h 319"/>
                <a:gd name="T2" fmla="*/ 193 w 321"/>
                <a:gd name="T3" fmla="*/ 4 h 319"/>
                <a:gd name="T4" fmla="*/ 222 w 321"/>
                <a:gd name="T5" fmla="*/ 14 h 319"/>
                <a:gd name="T6" fmla="*/ 250 w 321"/>
                <a:gd name="T7" fmla="*/ 28 h 319"/>
                <a:gd name="T8" fmla="*/ 274 w 321"/>
                <a:gd name="T9" fmla="*/ 47 h 319"/>
                <a:gd name="T10" fmla="*/ 294 w 321"/>
                <a:gd name="T11" fmla="*/ 71 h 319"/>
                <a:gd name="T12" fmla="*/ 308 w 321"/>
                <a:gd name="T13" fmla="*/ 98 h 319"/>
                <a:gd name="T14" fmla="*/ 318 w 321"/>
                <a:gd name="T15" fmla="*/ 128 h 319"/>
                <a:gd name="T16" fmla="*/ 321 w 321"/>
                <a:gd name="T17" fmla="*/ 159 h 319"/>
                <a:gd name="T18" fmla="*/ 318 w 321"/>
                <a:gd name="T19" fmla="*/ 192 h 319"/>
                <a:gd name="T20" fmla="*/ 308 w 321"/>
                <a:gd name="T21" fmla="*/ 222 h 319"/>
                <a:gd name="T22" fmla="*/ 294 w 321"/>
                <a:gd name="T23" fmla="*/ 249 h 319"/>
                <a:gd name="T24" fmla="*/ 274 w 321"/>
                <a:gd name="T25" fmla="*/ 272 h 319"/>
                <a:gd name="T26" fmla="*/ 250 w 321"/>
                <a:gd name="T27" fmla="*/ 291 h 319"/>
                <a:gd name="T28" fmla="*/ 222 w 321"/>
                <a:gd name="T29" fmla="*/ 306 h 319"/>
                <a:gd name="T30" fmla="*/ 193 w 321"/>
                <a:gd name="T31" fmla="*/ 315 h 319"/>
                <a:gd name="T32" fmla="*/ 160 w 321"/>
                <a:gd name="T33" fmla="*/ 319 h 319"/>
                <a:gd name="T34" fmla="*/ 128 w 321"/>
                <a:gd name="T35" fmla="*/ 315 h 319"/>
                <a:gd name="T36" fmla="*/ 99 w 321"/>
                <a:gd name="T37" fmla="*/ 306 h 319"/>
                <a:gd name="T38" fmla="*/ 71 w 321"/>
                <a:gd name="T39" fmla="*/ 291 h 319"/>
                <a:gd name="T40" fmla="*/ 47 w 321"/>
                <a:gd name="T41" fmla="*/ 272 h 319"/>
                <a:gd name="T42" fmla="*/ 27 w 321"/>
                <a:gd name="T43" fmla="*/ 249 h 319"/>
                <a:gd name="T44" fmla="*/ 13 w 321"/>
                <a:gd name="T45" fmla="*/ 222 h 319"/>
                <a:gd name="T46" fmla="*/ 3 w 321"/>
                <a:gd name="T47" fmla="*/ 192 h 319"/>
                <a:gd name="T48" fmla="*/ 0 w 321"/>
                <a:gd name="T49" fmla="*/ 159 h 319"/>
                <a:gd name="T50" fmla="*/ 3 w 321"/>
                <a:gd name="T51" fmla="*/ 128 h 319"/>
                <a:gd name="T52" fmla="*/ 13 w 321"/>
                <a:gd name="T53" fmla="*/ 98 h 319"/>
                <a:gd name="T54" fmla="*/ 27 w 321"/>
                <a:gd name="T55" fmla="*/ 71 h 319"/>
                <a:gd name="T56" fmla="*/ 47 w 321"/>
                <a:gd name="T57" fmla="*/ 47 h 319"/>
                <a:gd name="T58" fmla="*/ 71 w 321"/>
                <a:gd name="T59" fmla="*/ 28 h 319"/>
                <a:gd name="T60" fmla="*/ 99 w 321"/>
                <a:gd name="T61" fmla="*/ 14 h 319"/>
                <a:gd name="T62" fmla="*/ 128 w 321"/>
                <a:gd name="T63" fmla="*/ 4 h 319"/>
                <a:gd name="T64" fmla="*/ 160 w 321"/>
                <a:gd name="T65" fmla="*/ 0 h 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21" h="319">
                  <a:moveTo>
                    <a:pt x="160" y="0"/>
                  </a:moveTo>
                  <a:lnTo>
                    <a:pt x="193" y="4"/>
                  </a:lnTo>
                  <a:lnTo>
                    <a:pt x="222" y="14"/>
                  </a:lnTo>
                  <a:lnTo>
                    <a:pt x="250" y="28"/>
                  </a:lnTo>
                  <a:lnTo>
                    <a:pt x="274" y="47"/>
                  </a:lnTo>
                  <a:lnTo>
                    <a:pt x="294" y="71"/>
                  </a:lnTo>
                  <a:lnTo>
                    <a:pt x="308" y="98"/>
                  </a:lnTo>
                  <a:lnTo>
                    <a:pt x="318" y="128"/>
                  </a:lnTo>
                  <a:lnTo>
                    <a:pt x="321" y="159"/>
                  </a:lnTo>
                  <a:lnTo>
                    <a:pt x="318" y="192"/>
                  </a:lnTo>
                  <a:lnTo>
                    <a:pt x="308" y="222"/>
                  </a:lnTo>
                  <a:lnTo>
                    <a:pt x="294" y="249"/>
                  </a:lnTo>
                  <a:lnTo>
                    <a:pt x="274" y="272"/>
                  </a:lnTo>
                  <a:lnTo>
                    <a:pt x="250" y="291"/>
                  </a:lnTo>
                  <a:lnTo>
                    <a:pt x="222" y="306"/>
                  </a:lnTo>
                  <a:lnTo>
                    <a:pt x="193" y="315"/>
                  </a:lnTo>
                  <a:lnTo>
                    <a:pt x="160" y="319"/>
                  </a:lnTo>
                  <a:lnTo>
                    <a:pt x="128" y="315"/>
                  </a:lnTo>
                  <a:lnTo>
                    <a:pt x="99" y="306"/>
                  </a:lnTo>
                  <a:lnTo>
                    <a:pt x="71" y="291"/>
                  </a:lnTo>
                  <a:lnTo>
                    <a:pt x="47" y="272"/>
                  </a:lnTo>
                  <a:lnTo>
                    <a:pt x="27" y="249"/>
                  </a:lnTo>
                  <a:lnTo>
                    <a:pt x="13" y="222"/>
                  </a:lnTo>
                  <a:lnTo>
                    <a:pt x="3" y="192"/>
                  </a:lnTo>
                  <a:lnTo>
                    <a:pt x="0" y="159"/>
                  </a:lnTo>
                  <a:lnTo>
                    <a:pt x="3" y="128"/>
                  </a:lnTo>
                  <a:lnTo>
                    <a:pt x="13" y="98"/>
                  </a:lnTo>
                  <a:lnTo>
                    <a:pt x="27" y="71"/>
                  </a:lnTo>
                  <a:lnTo>
                    <a:pt x="47" y="47"/>
                  </a:lnTo>
                  <a:lnTo>
                    <a:pt x="71" y="28"/>
                  </a:lnTo>
                  <a:lnTo>
                    <a:pt x="99" y="14"/>
                  </a:lnTo>
                  <a:lnTo>
                    <a:pt x="128" y="4"/>
                  </a:lnTo>
                  <a:lnTo>
                    <a:pt x="16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 panose="020B0502020104020203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74" name="Group 173">
            <a:extLst>
              <a:ext uri="{FF2B5EF4-FFF2-40B4-BE49-F238E27FC236}">
                <a16:creationId xmlns:a16="http://schemas.microsoft.com/office/drawing/2014/main" id="{C44DB58C-9311-F49A-9394-8AD55E5EB0AD}"/>
              </a:ext>
            </a:extLst>
          </p:cNvPr>
          <p:cNvGrpSpPr/>
          <p:nvPr/>
        </p:nvGrpSpPr>
        <p:grpSpPr>
          <a:xfrm>
            <a:off x="4078563" y="3939445"/>
            <a:ext cx="318856" cy="350274"/>
            <a:chOff x="592138" y="2925763"/>
            <a:chExt cx="434976" cy="477838"/>
          </a:xfrm>
          <a:solidFill>
            <a:sysClr val="window" lastClr="FFFFFF"/>
          </a:solidFill>
        </p:grpSpPr>
        <p:sp>
          <p:nvSpPr>
            <p:cNvPr id="175" name="Freeform 162">
              <a:extLst>
                <a:ext uri="{FF2B5EF4-FFF2-40B4-BE49-F238E27FC236}">
                  <a16:creationId xmlns:a16="http://schemas.microsoft.com/office/drawing/2014/main" id="{3256902F-FF19-5BB9-10A4-00D24EEA117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3576" y="2998788"/>
              <a:ext cx="292100" cy="404813"/>
            </a:xfrm>
            <a:custGeom>
              <a:avLst/>
              <a:gdLst>
                <a:gd name="T0" fmla="*/ 750 w 2029"/>
                <a:gd name="T1" fmla="*/ 299 h 2800"/>
                <a:gd name="T2" fmla="*/ 479 w 2029"/>
                <a:gd name="T3" fmla="*/ 466 h 2800"/>
                <a:gd name="T4" fmla="*/ 304 w 2029"/>
                <a:gd name="T5" fmla="*/ 723 h 2800"/>
                <a:gd name="T6" fmla="*/ 259 w 2029"/>
                <a:gd name="T7" fmla="*/ 1034 h 2800"/>
                <a:gd name="T8" fmla="*/ 314 w 2029"/>
                <a:gd name="T9" fmla="*/ 1283 h 2800"/>
                <a:gd name="T10" fmla="*/ 414 w 2029"/>
                <a:gd name="T11" fmla="*/ 1472 h 2800"/>
                <a:gd name="T12" fmla="*/ 530 w 2029"/>
                <a:gd name="T13" fmla="*/ 1646 h 2800"/>
                <a:gd name="T14" fmla="*/ 603 w 2029"/>
                <a:gd name="T15" fmla="*/ 1843 h 2800"/>
                <a:gd name="T16" fmla="*/ 647 w 2029"/>
                <a:gd name="T17" fmla="*/ 1978 h 2800"/>
                <a:gd name="T18" fmla="*/ 1346 w 2029"/>
                <a:gd name="T19" fmla="*/ 2011 h 2800"/>
                <a:gd name="T20" fmla="*/ 1421 w 2029"/>
                <a:gd name="T21" fmla="*/ 1912 h 2800"/>
                <a:gd name="T22" fmla="*/ 1460 w 2029"/>
                <a:gd name="T23" fmla="*/ 1721 h 2800"/>
                <a:gd name="T24" fmla="*/ 1570 w 2029"/>
                <a:gd name="T25" fmla="*/ 1538 h 2800"/>
                <a:gd name="T26" fmla="*/ 1678 w 2029"/>
                <a:gd name="T27" fmla="*/ 1364 h 2800"/>
                <a:gd name="T28" fmla="*/ 1756 w 2029"/>
                <a:gd name="T29" fmla="*/ 1143 h 2800"/>
                <a:gd name="T30" fmla="*/ 1760 w 2029"/>
                <a:gd name="T31" fmla="*/ 844 h 2800"/>
                <a:gd name="T32" fmla="*/ 1634 w 2029"/>
                <a:gd name="T33" fmla="*/ 559 h 2800"/>
                <a:gd name="T34" fmla="*/ 1397 w 2029"/>
                <a:gd name="T35" fmla="*/ 352 h 2800"/>
                <a:gd name="T36" fmla="*/ 1084 w 2029"/>
                <a:gd name="T37" fmla="*/ 258 h 2800"/>
                <a:gd name="T38" fmla="*/ 1258 w 2029"/>
                <a:gd name="T39" fmla="*/ 29 h 2800"/>
                <a:gd name="T40" fmla="*/ 1613 w 2029"/>
                <a:gd name="T41" fmla="*/ 188 h 2800"/>
                <a:gd name="T42" fmla="*/ 1877 w 2029"/>
                <a:gd name="T43" fmla="*/ 461 h 2800"/>
                <a:gd name="T44" fmla="*/ 2015 w 2029"/>
                <a:gd name="T45" fmla="*/ 815 h 2800"/>
                <a:gd name="T46" fmla="*/ 2013 w 2029"/>
                <a:gd name="T47" fmla="*/ 1166 h 2800"/>
                <a:gd name="T48" fmla="*/ 1934 w 2029"/>
                <a:gd name="T49" fmla="*/ 1424 h 2800"/>
                <a:gd name="T50" fmla="*/ 1825 w 2029"/>
                <a:gd name="T51" fmla="*/ 1617 h 2800"/>
                <a:gd name="T52" fmla="*/ 1714 w 2029"/>
                <a:gd name="T53" fmla="*/ 1785 h 2800"/>
                <a:gd name="T54" fmla="*/ 1677 w 2029"/>
                <a:gd name="T55" fmla="*/ 1934 h 2800"/>
                <a:gd name="T56" fmla="*/ 1572 w 2029"/>
                <a:gd name="T57" fmla="*/ 2150 h 2800"/>
                <a:gd name="T58" fmla="*/ 1487 w 2029"/>
                <a:gd name="T59" fmla="*/ 2294 h 2800"/>
                <a:gd name="T60" fmla="*/ 1480 w 2029"/>
                <a:gd name="T61" fmla="*/ 2429 h 2800"/>
                <a:gd name="T62" fmla="*/ 1476 w 2029"/>
                <a:gd name="T63" fmla="*/ 2492 h 2800"/>
                <a:gd name="T64" fmla="*/ 1446 w 2029"/>
                <a:gd name="T65" fmla="*/ 2575 h 2800"/>
                <a:gd name="T66" fmla="*/ 1340 w 2029"/>
                <a:gd name="T67" fmla="*/ 2666 h 2800"/>
                <a:gd name="T68" fmla="*/ 1184 w 2029"/>
                <a:gd name="T69" fmla="*/ 2779 h 2800"/>
                <a:gd name="T70" fmla="*/ 891 w 2029"/>
                <a:gd name="T71" fmla="*/ 2798 h 2800"/>
                <a:gd name="T72" fmla="*/ 762 w 2029"/>
                <a:gd name="T73" fmla="*/ 2698 h 2800"/>
                <a:gd name="T74" fmla="*/ 607 w 2029"/>
                <a:gd name="T75" fmla="*/ 2606 h 2800"/>
                <a:gd name="T76" fmla="*/ 556 w 2029"/>
                <a:gd name="T77" fmla="*/ 2509 h 2800"/>
                <a:gd name="T78" fmla="*/ 551 w 2029"/>
                <a:gd name="T79" fmla="*/ 2466 h 2800"/>
                <a:gd name="T80" fmla="*/ 545 w 2029"/>
                <a:gd name="T81" fmla="*/ 2350 h 2800"/>
                <a:gd name="T82" fmla="*/ 538 w 2029"/>
                <a:gd name="T83" fmla="*/ 2221 h 2800"/>
                <a:gd name="T84" fmla="*/ 376 w 2029"/>
                <a:gd name="T85" fmla="*/ 2025 h 2800"/>
                <a:gd name="T86" fmla="*/ 340 w 2029"/>
                <a:gd name="T87" fmla="*/ 1839 h 2800"/>
                <a:gd name="T88" fmla="*/ 248 w 2029"/>
                <a:gd name="T89" fmla="*/ 1682 h 2800"/>
                <a:gd name="T90" fmla="*/ 138 w 2029"/>
                <a:gd name="T91" fmla="*/ 1508 h 2800"/>
                <a:gd name="T92" fmla="*/ 41 w 2029"/>
                <a:gd name="T93" fmla="*/ 1278 h 2800"/>
                <a:gd name="T94" fmla="*/ 0 w 2029"/>
                <a:gd name="T95" fmla="*/ 973 h 2800"/>
                <a:gd name="T96" fmla="*/ 80 w 2029"/>
                <a:gd name="T97" fmla="*/ 595 h 2800"/>
                <a:gd name="T98" fmla="*/ 298 w 2029"/>
                <a:gd name="T99" fmla="*/ 286 h 2800"/>
                <a:gd name="T100" fmla="*/ 621 w 2029"/>
                <a:gd name="T101" fmla="*/ 77 h 2800"/>
                <a:gd name="T102" fmla="*/ 1014 w 2029"/>
                <a:gd name="T103" fmla="*/ 0 h 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029" h="2800">
                  <a:moveTo>
                    <a:pt x="1014" y="255"/>
                  </a:moveTo>
                  <a:lnTo>
                    <a:pt x="945" y="258"/>
                  </a:lnTo>
                  <a:lnTo>
                    <a:pt x="878" y="266"/>
                  </a:lnTo>
                  <a:lnTo>
                    <a:pt x="813" y="281"/>
                  </a:lnTo>
                  <a:lnTo>
                    <a:pt x="750" y="299"/>
                  </a:lnTo>
                  <a:lnTo>
                    <a:pt x="690" y="324"/>
                  </a:lnTo>
                  <a:lnTo>
                    <a:pt x="632" y="354"/>
                  </a:lnTo>
                  <a:lnTo>
                    <a:pt x="578" y="387"/>
                  </a:lnTo>
                  <a:lnTo>
                    <a:pt x="527" y="424"/>
                  </a:lnTo>
                  <a:lnTo>
                    <a:pt x="479" y="466"/>
                  </a:lnTo>
                  <a:lnTo>
                    <a:pt x="435" y="511"/>
                  </a:lnTo>
                  <a:lnTo>
                    <a:pt x="396" y="559"/>
                  </a:lnTo>
                  <a:lnTo>
                    <a:pt x="361" y="611"/>
                  </a:lnTo>
                  <a:lnTo>
                    <a:pt x="330" y="666"/>
                  </a:lnTo>
                  <a:lnTo>
                    <a:pt x="304" y="723"/>
                  </a:lnTo>
                  <a:lnTo>
                    <a:pt x="284" y="783"/>
                  </a:lnTo>
                  <a:lnTo>
                    <a:pt x="270" y="844"/>
                  </a:lnTo>
                  <a:lnTo>
                    <a:pt x="260" y="908"/>
                  </a:lnTo>
                  <a:lnTo>
                    <a:pt x="257" y="973"/>
                  </a:lnTo>
                  <a:lnTo>
                    <a:pt x="259" y="1034"/>
                  </a:lnTo>
                  <a:lnTo>
                    <a:pt x="264" y="1090"/>
                  </a:lnTo>
                  <a:lnTo>
                    <a:pt x="273" y="1143"/>
                  </a:lnTo>
                  <a:lnTo>
                    <a:pt x="284" y="1193"/>
                  </a:lnTo>
                  <a:lnTo>
                    <a:pt x="298" y="1240"/>
                  </a:lnTo>
                  <a:lnTo>
                    <a:pt x="314" y="1283"/>
                  </a:lnTo>
                  <a:lnTo>
                    <a:pt x="331" y="1325"/>
                  </a:lnTo>
                  <a:lnTo>
                    <a:pt x="351" y="1364"/>
                  </a:lnTo>
                  <a:lnTo>
                    <a:pt x="371" y="1402"/>
                  </a:lnTo>
                  <a:lnTo>
                    <a:pt x="393" y="1437"/>
                  </a:lnTo>
                  <a:lnTo>
                    <a:pt x="414" y="1472"/>
                  </a:lnTo>
                  <a:lnTo>
                    <a:pt x="437" y="1505"/>
                  </a:lnTo>
                  <a:lnTo>
                    <a:pt x="458" y="1537"/>
                  </a:lnTo>
                  <a:lnTo>
                    <a:pt x="483" y="1573"/>
                  </a:lnTo>
                  <a:lnTo>
                    <a:pt x="507" y="1610"/>
                  </a:lnTo>
                  <a:lnTo>
                    <a:pt x="530" y="1646"/>
                  </a:lnTo>
                  <a:lnTo>
                    <a:pt x="551" y="1683"/>
                  </a:lnTo>
                  <a:lnTo>
                    <a:pt x="569" y="1721"/>
                  </a:lnTo>
                  <a:lnTo>
                    <a:pt x="584" y="1760"/>
                  </a:lnTo>
                  <a:lnTo>
                    <a:pt x="595" y="1800"/>
                  </a:lnTo>
                  <a:lnTo>
                    <a:pt x="603" y="1843"/>
                  </a:lnTo>
                  <a:lnTo>
                    <a:pt x="605" y="1888"/>
                  </a:lnTo>
                  <a:lnTo>
                    <a:pt x="608" y="1912"/>
                  </a:lnTo>
                  <a:lnTo>
                    <a:pt x="617" y="1936"/>
                  </a:lnTo>
                  <a:lnTo>
                    <a:pt x="630" y="1958"/>
                  </a:lnTo>
                  <a:lnTo>
                    <a:pt x="647" y="1978"/>
                  </a:lnTo>
                  <a:lnTo>
                    <a:pt x="665" y="1996"/>
                  </a:lnTo>
                  <a:lnTo>
                    <a:pt x="683" y="2011"/>
                  </a:lnTo>
                  <a:lnTo>
                    <a:pt x="701" y="2025"/>
                  </a:lnTo>
                  <a:lnTo>
                    <a:pt x="1328" y="2025"/>
                  </a:lnTo>
                  <a:lnTo>
                    <a:pt x="1346" y="2011"/>
                  </a:lnTo>
                  <a:lnTo>
                    <a:pt x="1364" y="1996"/>
                  </a:lnTo>
                  <a:lnTo>
                    <a:pt x="1383" y="1978"/>
                  </a:lnTo>
                  <a:lnTo>
                    <a:pt x="1399" y="1958"/>
                  </a:lnTo>
                  <a:lnTo>
                    <a:pt x="1412" y="1936"/>
                  </a:lnTo>
                  <a:lnTo>
                    <a:pt x="1421" y="1912"/>
                  </a:lnTo>
                  <a:lnTo>
                    <a:pt x="1424" y="1888"/>
                  </a:lnTo>
                  <a:lnTo>
                    <a:pt x="1426" y="1843"/>
                  </a:lnTo>
                  <a:lnTo>
                    <a:pt x="1434" y="1800"/>
                  </a:lnTo>
                  <a:lnTo>
                    <a:pt x="1445" y="1760"/>
                  </a:lnTo>
                  <a:lnTo>
                    <a:pt x="1460" y="1721"/>
                  </a:lnTo>
                  <a:lnTo>
                    <a:pt x="1478" y="1684"/>
                  </a:lnTo>
                  <a:lnTo>
                    <a:pt x="1498" y="1646"/>
                  </a:lnTo>
                  <a:lnTo>
                    <a:pt x="1520" y="1610"/>
                  </a:lnTo>
                  <a:lnTo>
                    <a:pt x="1545" y="1574"/>
                  </a:lnTo>
                  <a:lnTo>
                    <a:pt x="1570" y="1538"/>
                  </a:lnTo>
                  <a:lnTo>
                    <a:pt x="1592" y="1506"/>
                  </a:lnTo>
                  <a:lnTo>
                    <a:pt x="1614" y="1473"/>
                  </a:lnTo>
                  <a:lnTo>
                    <a:pt x="1636" y="1438"/>
                  </a:lnTo>
                  <a:lnTo>
                    <a:pt x="1658" y="1402"/>
                  </a:lnTo>
                  <a:lnTo>
                    <a:pt x="1678" y="1364"/>
                  </a:lnTo>
                  <a:lnTo>
                    <a:pt x="1698" y="1325"/>
                  </a:lnTo>
                  <a:lnTo>
                    <a:pt x="1715" y="1283"/>
                  </a:lnTo>
                  <a:lnTo>
                    <a:pt x="1731" y="1240"/>
                  </a:lnTo>
                  <a:lnTo>
                    <a:pt x="1745" y="1193"/>
                  </a:lnTo>
                  <a:lnTo>
                    <a:pt x="1756" y="1143"/>
                  </a:lnTo>
                  <a:lnTo>
                    <a:pt x="1765" y="1090"/>
                  </a:lnTo>
                  <a:lnTo>
                    <a:pt x="1770" y="1034"/>
                  </a:lnTo>
                  <a:lnTo>
                    <a:pt x="1772" y="973"/>
                  </a:lnTo>
                  <a:lnTo>
                    <a:pt x="1769" y="908"/>
                  </a:lnTo>
                  <a:lnTo>
                    <a:pt x="1760" y="844"/>
                  </a:lnTo>
                  <a:lnTo>
                    <a:pt x="1745" y="782"/>
                  </a:lnTo>
                  <a:lnTo>
                    <a:pt x="1725" y="723"/>
                  </a:lnTo>
                  <a:lnTo>
                    <a:pt x="1700" y="666"/>
                  </a:lnTo>
                  <a:lnTo>
                    <a:pt x="1668" y="610"/>
                  </a:lnTo>
                  <a:lnTo>
                    <a:pt x="1634" y="559"/>
                  </a:lnTo>
                  <a:lnTo>
                    <a:pt x="1594" y="511"/>
                  </a:lnTo>
                  <a:lnTo>
                    <a:pt x="1550" y="466"/>
                  </a:lnTo>
                  <a:lnTo>
                    <a:pt x="1503" y="424"/>
                  </a:lnTo>
                  <a:lnTo>
                    <a:pt x="1451" y="386"/>
                  </a:lnTo>
                  <a:lnTo>
                    <a:pt x="1397" y="352"/>
                  </a:lnTo>
                  <a:lnTo>
                    <a:pt x="1339" y="324"/>
                  </a:lnTo>
                  <a:lnTo>
                    <a:pt x="1278" y="299"/>
                  </a:lnTo>
                  <a:lnTo>
                    <a:pt x="1216" y="281"/>
                  </a:lnTo>
                  <a:lnTo>
                    <a:pt x="1151" y="266"/>
                  </a:lnTo>
                  <a:lnTo>
                    <a:pt x="1084" y="258"/>
                  </a:lnTo>
                  <a:lnTo>
                    <a:pt x="1014" y="255"/>
                  </a:lnTo>
                  <a:close/>
                  <a:moveTo>
                    <a:pt x="1014" y="0"/>
                  </a:moveTo>
                  <a:lnTo>
                    <a:pt x="1097" y="3"/>
                  </a:lnTo>
                  <a:lnTo>
                    <a:pt x="1179" y="13"/>
                  </a:lnTo>
                  <a:lnTo>
                    <a:pt x="1258" y="29"/>
                  </a:lnTo>
                  <a:lnTo>
                    <a:pt x="1335" y="50"/>
                  </a:lnTo>
                  <a:lnTo>
                    <a:pt x="1408" y="77"/>
                  </a:lnTo>
                  <a:lnTo>
                    <a:pt x="1480" y="109"/>
                  </a:lnTo>
                  <a:lnTo>
                    <a:pt x="1548" y="147"/>
                  </a:lnTo>
                  <a:lnTo>
                    <a:pt x="1613" y="188"/>
                  </a:lnTo>
                  <a:lnTo>
                    <a:pt x="1673" y="235"/>
                  </a:lnTo>
                  <a:lnTo>
                    <a:pt x="1731" y="286"/>
                  </a:lnTo>
                  <a:lnTo>
                    <a:pt x="1783" y="340"/>
                  </a:lnTo>
                  <a:lnTo>
                    <a:pt x="1833" y="399"/>
                  </a:lnTo>
                  <a:lnTo>
                    <a:pt x="1877" y="461"/>
                  </a:lnTo>
                  <a:lnTo>
                    <a:pt x="1915" y="526"/>
                  </a:lnTo>
                  <a:lnTo>
                    <a:pt x="1949" y="595"/>
                  </a:lnTo>
                  <a:lnTo>
                    <a:pt x="1976" y="667"/>
                  </a:lnTo>
                  <a:lnTo>
                    <a:pt x="1999" y="739"/>
                  </a:lnTo>
                  <a:lnTo>
                    <a:pt x="2015" y="815"/>
                  </a:lnTo>
                  <a:lnTo>
                    <a:pt x="2025" y="893"/>
                  </a:lnTo>
                  <a:lnTo>
                    <a:pt x="2029" y="973"/>
                  </a:lnTo>
                  <a:lnTo>
                    <a:pt x="2026" y="1041"/>
                  </a:lnTo>
                  <a:lnTo>
                    <a:pt x="2021" y="1105"/>
                  </a:lnTo>
                  <a:lnTo>
                    <a:pt x="2013" y="1166"/>
                  </a:lnTo>
                  <a:lnTo>
                    <a:pt x="2001" y="1224"/>
                  </a:lnTo>
                  <a:lnTo>
                    <a:pt x="1988" y="1278"/>
                  </a:lnTo>
                  <a:lnTo>
                    <a:pt x="1972" y="1329"/>
                  </a:lnTo>
                  <a:lnTo>
                    <a:pt x="1953" y="1378"/>
                  </a:lnTo>
                  <a:lnTo>
                    <a:pt x="1934" y="1424"/>
                  </a:lnTo>
                  <a:lnTo>
                    <a:pt x="1913" y="1466"/>
                  </a:lnTo>
                  <a:lnTo>
                    <a:pt x="1892" y="1507"/>
                  </a:lnTo>
                  <a:lnTo>
                    <a:pt x="1869" y="1546"/>
                  </a:lnTo>
                  <a:lnTo>
                    <a:pt x="1847" y="1583"/>
                  </a:lnTo>
                  <a:lnTo>
                    <a:pt x="1825" y="1617"/>
                  </a:lnTo>
                  <a:lnTo>
                    <a:pt x="1803" y="1649"/>
                  </a:lnTo>
                  <a:lnTo>
                    <a:pt x="1781" y="1681"/>
                  </a:lnTo>
                  <a:lnTo>
                    <a:pt x="1756" y="1719"/>
                  </a:lnTo>
                  <a:lnTo>
                    <a:pt x="1733" y="1753"/>
                  </a:lnTo>
                  <a:lnTo>
                    <a:pt x="1714" y="1785"/>
                  </a:lnTo>
                  <a:lnTo>
                    <a:pt x="1700" y="1813"/>
                  </a:lnTo>
                  <a:lnTo>
                    <a:pt x="1689" y="1839"/>
                  </a:lnTo>
                  <a:lnTo>
                    <a:pt x="1682" y="1864"/>
                  </a:lnTo>
                  <a:lnTo>
                    <a:pt x="1680" y="1888"/>
                  </a:lnTo>
                  <a:lnTo>
                    <a:pt x="1677" y="1934"/>
                  </a:lnTo>
                  <a:lnTo>
                    <a:pt x="1667" y="1980"/>
                  </a:lnTo>
                  <a:lnTo>
                    <a:pt x="1652" y="2025"/>
                  </a:lnTo>
                  <a:lnTo>
                    <a:pt x="1630" y="2068"/>
                  </a:lnTo>
                  <a:lnTo>
                    <a:pt x="1604" y="2110"/>
                  </a:lnTo>
                  <a:lnTo>
                    <a:pt x="1572" y="2150"/>
                  </a:lnTo>
                  <a:lnTo>
                    <a:pt x="1534" y="2187"/>
                  </a:lnTo>
                  <a:lnTo>
                    <a:pt x="1491" y="2221"/>
                  </a:lnTo>
                  <a:lnTo>
                    <a:pt x="1490" y="2242"/>
                  </a:lnTo>
                  <a:lnTo>
                    <a:pt x="1489" y="2267"/>
                  </a:lnTo>
                  <a:lnTo>
                    <a:pt x="1487" y="2294"/>
                  </a:lnTo>
                  <a:lnTo>
                    <a:pt x="1486" y="2322"/>
                  </a:lnTo>
                  <a:lnTo>
                    <a:pt x="1484" y="2350"/>
                  </a:lnTo>
                  <a:lnTo>
                    <a:pt x="1483" y="2378"/>
                  </a:lnTo>
                  <a:lnTo>
                    <a:pt x="1481" y="2405"/>
                  </a:lnTo>
                  <a:lnTo>
                    <a:pt x="1480" y="2429"/>
                  </a:lnTo>
                  <a:lnTo>
                    <a:pt x="1479" y="2449"/>
                  </a:lnTo>
                  <a:lnTo>
                    <a:pt x="1478" y="2466"/>
                  </a:lnTo>
                  <a:lnTo>
                    <a:pt x="1478" y="2476"/>
                  </a:lnTo>
                  <a:lnTo>
                    <a:pt x="1476" y="2479"/>
                  </a:lnTo>
                  <a:lnTo>
                    <a:pt x="1476" y="2492"/>
                  </a:lnTo>
                  <a:lnTo>
                    <a:pt x="1474" y="2506"/>
                  </a:lnTo>
                  <a:lnTo>
                    <a:pt x="1470" y="2522"/>
                  </a:lnTo>
                  <a:lnTo>
                    <a:pt x="1465" y="2539"/>
                  </a:lnTo>
                  <a:lnTo>
                    <a:pt x="1457" y="2557"/>
                  </a:lnTo>
                  <a:lnTo>
                    <a:pt x="1446" y="2575"/>
                  </a:lnTo>
                  <a:lnTo>
                    <a:pt x="1432" y="2594"/>
                  </a:lnTo>
                  <a:lnTo>
                    <a:pt x="1416" y="2613"/>
                  </a:lnTo>
                  <a:lnTo>
                    <a:pt x="1395" y="2631"/>
                  </a:lnTo>
                  <a:lnTo>
                    <a:pt x="1370" y="2650"/>
                  </a:lnTo>
                  <a:lnTo>
                    <a:pt x="1340" y="2666"/>
                  </a:lnTo>
                  <a:lnTo>
                    <a:pt x="1307" y="2683"/>
                  </a:lnTo>
                  <a:lnTo>
                    <a:pt x="1267" y="2698"/>
                  </a:lnTo>
                  <a:lnTo>
                    <a:pt x="1244" y="2727"/>
                  </a:lnTo>
                  <a:lnTo>
                    <a:pt x="1216" y="2754"/>
                  </a:lnTo>
                  <a:lnTo>
                    <a:pt x="1184" y="2779"/>
                  </a:lnTo>
                  <a:lnTo>
                    <a:pt x="1162" y="2790"/>
                  </a:lnTo>
                  <a:lnTo>
                    <a:pt x="1138" y="2798"/>
                  </a:lnTo>
                  <a:lnTo>
                    <a:pt x="1113" y="2800"/>
                  </a:lnTo>
                  <a:lnTo>
                    <a:pt x="916" y="2800"/>
                  </a:lnTo>
                  <a:lnTo>
                    <a:pt x="891" y="2798"/>
                  </a:lnTo>
                  <a:lnTo>
                    <a:pt x="867" y="2790"/>
                  </a:lnTo>
                  <a:lnTo>
                    <a:pt x="845" y="2779"/>
                  </a:lnTo>
                  <a:lnTo>
                    <a:pt x="813" y="2754"/>
                  </a:lnTo>
                  <a:lnTo>
                    <a:pt x="785" y="2727"/>
                  </a:lnTo>
                  <a:lnTo>
                    <a:pt x="762" y="2698"/>
                  </a:lnTo>
                  <a:lnTo>
                    <a:pt x="720" y="2681"/>
                  </a:lnTo>
                  <a:lnTo>
                    <a:pt x="684" y="2664"/>
                  </a:lnTo>
                  <a:lnTo>
                    <a:pt x="653" y="2646"/>
                  </a:lnTo>
                  <a:lnTo>
                    <a:pt x="628" y="2626"/>
                  </a:lnTo>
                  <a:lnTo>
                    <a:pt x="607" y="2606"/>
                  </a:lnTo>
                  <a:lnTo>
                    <a:pt x="590" y="2585"/>
                  </a:lnTo>
                  <a:lnTo>
                    <a:pt x="578" y="2566"/>
                  </a:lnTo>
                  <a:lnTo>
                    <a:pt x="567" y="2546"/>
                  </a:lnTo>
                  <a:lnTo>
                    <a:pt x="561" y="2527"/>
                  </a:lnTo>
                  <a:lnTo>
                    <a:pt x="556" y="2509"/>
                  </a:lnTo>
                  <a:lnTo>
                    <a:pt x="554" y="2494"/>
                  </a:lnTo>
                  <a:lnTo>
                    <a:pt x="552" y="2479"/>
                  </a:lnTo>
                  <a:lnTo>
                    <a:pt x="552" y="2479"/>
                  </a:lnTo>
                  <a:lnTo>
                    <a:pt x="552" y="2476"/>
                  </a:lnTo>
                  <a:lnTo>
                    <a:pt x="551" y="2466"/>
                  </a:lnTo>
                  <a:lnTo>
                    <a:pt x="550" y="2449"/>
                  </a:lnTo>
                  <a:lnTo>
                    <a:pt x="549" y="2429"/>
                  </a:lnTo>
                  <a:lnTo>
                    <a:pt x="548" y="2405"/>
                  </a:lnTo>
                  <a:lnTo>
                    <a:pt x="546" y="2378"/>
                  </a:lnTo>
                  <a:lnTo>
                    <a:pt x="545" y="2350"/>
                  </a:lnTo>
                  <a:lnTo>
                    <a:pt x="543" y="2322"/>
                  </a:lnTo>
                  <a:lnTo>
                    <a:pt x="542" y="2294"/>
                  </a:lnTo>
                  <a:lnTo>
                    <a:pt x="540" y="2267"/>
                  </a:lnTo>
                  <a:lnTo>
                    <a:pt x="539" y="2242"/>
                  </a:lnTo>
                  <a:lnTo>
                    <a:pt x="538" y="2221"/>
                  </a:lnTo>
                  <a:lnTo>
                    <a:pt x="495" y="2187"/>
                  </a:lnTo>
                  <a:lnTo>
                    <a:pt x="457" y="2150"/>
                  </a:lnTo>
                  <a:lnTo>
                    <a:pt x="425" y="2110"/>
                  </a:lnTo>
                  <a:lnTo>
                    <a:pt x="398" y="2068"/>
                  </a:lnTo>
                  <a:lnTo>
                    <a:pt x="376" y="2025"/>
                  </a:lnTo>
                  <a:lnTo>
                    <a:pt x="362" y="1980"/>
                  </a:lnTo>
                  <a:lnTo>
                    <a:pt x="352" y="1934"/>
                  </a:lnTo>
                  <a:lnTo>
                    <a:pt x="349" y="1888"/>
                  </a:lnTo>
                  <a:lnTo>
                    <a:pt x="347" y="1864"/>
                  </a:lnTo>
                  <a:lnTo>
                    <a:pt x="340" y="1839"/>
                  </a:lnTo>
                  <a:lnTo>
                    <a:pt x="329" y="1813"/>
                  </a:lnTo>
                  <a:lnTo>
                    <a:pt x="315" y="1785"/>
                  </a:lnTo>
                  <a:lnTo>
                    <a:pt x="296" y="1753"/>
                  </a:lnTo>
                  <a:lnTo>
                    <a:pt x="274" y="1719"/>
                  </a:lnTo>
                  <a:lnTo>
                    <a:pt x="248" y="1682"/>
                  </a:lnTo>
                  <a:lnTo>
                    <a:pt x="227" y="1650"/>
                  </a:lnTo>
                  <a:lnTo>
                    <a:pt x="205" y="1617"/>
                  </a:lnTo>
                  <a:lnTo>
                    <a:pt x="182" y="1583"/>
                  </a:lnTo>
                  <a:lnTo>
                    <a:pt x="160" y="1546"/>
                  </a:lnTo>
                  <a:lnTo>
                    <a:pt x="138" y="1508"/>
                  </a:lnTo>
                  <a:lnTo>
                    <a:pt x="116" y="1466"/>
                  </a:lnTo>
                  <a:lnTo>
                    <a:pt x="95" y="1424"/>
                  </a:lnTo>
                  <a:lnTo>
                    <a:pt x="76" y="1378"/>
                  </a:lnTo>
                  <a:lnTo>
                    <a:pt x="57" y="1329"/>
                  </a:lnTo>
                  <a:lnTo>
                    <a:pt x="41" y="1278"/>
                  </a:lnTo>
                  <a:lnTo>
                    <a:pt x="28" y="1224"/>
                  </a:lnTo>
                  <a:lnTo>
                    <a:pt x="16" y="1166"/>
                  </a:lnTo>
                  <a:lnTo>
                    <a:pt x="8" y="1105"/>
                  </a:lnTo>
                  <a:lnTo>
                    <a:pt x="2" y="1041"/>
                  </a:lnTo>
                  <a:lnTo>
                    <a:pt x="0" y="973"/>
                  </a:lnTo>
                  <a:lnTo>
                    <a:pt x="4" y="893"/>
                  </a:lnTo>
                  <a:lnTo>
                    <a:pt x="14" y="815"/>
                  </a:lnTo>
                  <a:lnTo>
                    <a:pt x="30" y="739"/>
                  </a:lnTo>
                  <a:lnTo>
                    <a:pt x="53" y="667"/>
                  </a:lnTo>
                  <a:lnTo>
                    <a:pt x="80" y="595"/>
                  </a:lnTo>
                  <a:lnTo>
                    <a:pt x="114" y="526"/>
                  </a:lnTo>
                  <a:lnTo>
                    <a:pt x="152" y="461"/>
                  </a:lnTo>
                  <a:lnTo>
                    <a:pt x="196" y="399"/>
                  </a:lnTo>
                  <a:lnTo>
                    <a:pt x="246" y="340"/>
                  </a:lnTo>
                  <a:lnTo>
                    <a:pt x="298" y="286"/>
                  </a:lnTo>
                  <a:lnTo>
                    <a:pt x="356" y="235"/>
                  </a:lnTo>
                  <a:lnTo>
                    <a:pt x="416" y="188"/>
                  </a:lnTo>
                  <a:lnTo>
                    <a:pt x="481" y="147"/>
                  </a:lnTo>
                  <a:lnTo>
                    <a:pt x="549" y="109"/>
                  </a:lnTo>
                  <a:lnTo>
                    <a:pt x="621" y="77"/>
                  </a:lnTo>
                  <a:lnTo>
                    <a:pt x="695" y="50"/>
                  </a:lnTo>
                  <a:lnTo>
                    <a:pt x="771" y="29"/>
                  </a:lnTo>
                  <a:lnTo>
                    <a:pt x="850" y="13"/>
                  </a:lnTo>
                  <a:lnTo>
                    <a:pt x="932" y="3"/>
                  </a:lnTo>
                  <a:lnTo>
                    <a:pt x="101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 panose="020B0502020104020203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6" name="Freeform 163">
              <a:extLst>
                <a:ext uri="{FF2B5EF4-FFF2-40B4-BE49-F238E27FC236}">
                  <a16:creationId xmlns:a16="http://schemas.microsoft.com/office/drawing/2014/main" id="{FA17D001-B2E2-9255-9AC0-7B8E8EBD281A}"/>
                </a:ext>
              </a:extLst>
            </p:cNvPr>
            <p:cNvSpPr>
              <a:spLocks/>
            </p:cNvSpPr>
            <p:nvPr/>
          </p:nvSpPr>
          <p:spPr bwMode="auto">
            <a:xfrm>
              <a:off x="800101" y="2925763"/>
              <a:ext cx="19050" cy="46038"/>
            </a:xfrm>
            <a:custGeom>
              <a:avLst/>
              <a:gdLst>
                <a:gd name="T0" fmla="*/ 63 w 127"/>
                <a:gd name="T1" fmla="*/ 0 h 318"/>
                <a:gd name="T2" fmla="*/ 63 w 127"/>
                <a:gd name="T3" fmla="*/ 0 h 318"/>
                <a:gd name="T4" fmla="*/ 80 w 127"/>
                <a:gd name="T5" fmla="*/ 2 h 318"/>
                <a:gd name="T6" fmla="*/ 96 w 127"/>
                <a:gd name="T7" fmla="*/ 9 h 318"/>
                <a:gd name="T8" fmla="*/ 109 w 127"/>
                <a:gd name="T9" fmla="*/ 19 h 318"/>
                <a:gd name="T10" fmla="*/ 119 w 127"/>
                <a:gd name="T11" fmla="*/ 32 h 318"/>
                <a:gd name="T12" fmla="*/ 125 w 127"/>
                <a:gd name="T13" fmla="*/ 47 h 318"/>
                <a:gd name="T14" fmla="*/ 127 w 127"/>
                <a:gd name="T15" fmla="*/ 64 h 318"/>
                <a:gd name="T16" fmla="*/ 127 w 127"/>
                <a:gd name="T17" fmla="*/ 254 h 318"/>
                <a:gd name="T18" fmla="*/ 125 w 127"/>
                <a:gd name="T19" fmla="*/ 272 h 318"/>
                <a:gd name="T20" fmla="*/ 119 w 127"/>
                <a:gd name="T21" fmla="*/ 286 h 318"/>
                <a:gd name="T22" fmla="*/ 109 w 127"/>
                <a:gd name="T23" fmla="*/ 300 h 318"/>
                <a:gd name="T24" fmla="*/ 96 w 127"/>
                <a:gd name="T25" fmla="*/ 309 h 318"/>
                <a:gd name="T26" fmla="*/ 80 w 127"/>
                <a:gd name="T27" fmla="*/ 315 h 318"/>
                <a:gd name="T28" fmla="*/ 63 w 127"/>
                <a:gd name="T29" fmla="*/ 318 h 318"/>
                <a:gd name="T30" fmla="*/ 47 w 127"/>
                <a:gd name="T31" fmla="*/ 315 h 318"/>
                <a:gd name="T32" fmla="*/ 31 w 127"/>
                <a:gd name="T33" fmla="*/ 309 h 318"/>
                <a:gd name="T34" fmla="*/ 18 w 127"/>
                <a:gd name="T35" fmla="*/ 300 h 318"/>
                <a:gd name="T36" fmla="*/ 8 w 127"/>
                <a:gd name="T37" fmla="*/ 286 h 318"/>
                <a:gd name="T38" fmla="*/ 2 w 127"/>
                <a:gd name="T39" fmla="*/ 272 h 318"/>
                <a:gd name="T40" fmla="*/ 0 w 127"/>
                <a:gd name="T41" fmla="*/ 254 h 318"/>
                <a:gd name="T42" fmla="*/ 0 w 127"/>
                <a:gd name="T43" fmla="*/ 64 h 318"/>
                <a:gd name="T44" fmla="*/ 2 w 127"/>
                <a:gd name="T45" fmla="*/ 47 h 318"/>
                <a:gd name="T46" fmla="*/ 8 w 127"/>
                <a:gd name="T47" fmla="*/ 32 h 318"/>
                <a:gd name="T48" fmla="*/ 18 w 127"/>
                <a:gd name="T49" fmla="*/ 19 h 318"/>
                <a:gd name="T50" fmla="*/ 31 w 127"/>
                <a:gd name="T51" fmla="*/ 9 h 318"/>
                <a:gd name="T52" fmla="*/ 47 w 127"/>
                <a:gd name="T53" fmla="*/ 2 h 318"/>
                <a:gd name="T54" fmla="*/ 63 w 127"/>
                <a:gd name="T55" fmla="*/ 0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27" h="318">
                  <a:moveTo>
                    <a:pt x="63" y="0"/>
                  </a:moveTo>
                  <a:lnTo>
                    <a:pt x="63" y="0"/>
                  </a:lnTo>
                  <a:lnTo>
                    <a:pt x="80" y="2"/>
                  </a:lnTo>
                  <a:lnTo>
                    <a:pt x="96" y="9"/>
                  </a:lnTo>
                  <a:lnTo>
                    <a:pt x="109" y="19"/>
                  </a:lnTo>
                  <a:lnTo>
                    <a:pt x="119" y="32"/>
                  </a:lnTo>
                  <a:lnTo>
                    <a:pt x="125" y="47"/>
                  </a:lnTo>
                  <a:lnTo>
                    <a:pt x="127" y="64"/>
                  </a:lnTo>
                  <a:lnTo>
                    <a:pt x="127" y="254"/>
                  </a:lnTo>
                  <a:lnTo>
                    <a:pt x="125" y="272"/>
                  </a:lnTo>
                  <a:lnTo>
                    <a:pt x="119" y="286"/>
                  </a:lnTo>
                  <a:lnTo>
                    <a:pt x="109" y="300"/>
                  </a:lnTo>
                  <a:lnTo>
                    <a:pt x="96" y="309"/>
                  </a:lnTo>
                  <a:lnTo>
                    <a:pt x="80" y="315"/>
                  </a:lnTo>
                  <a:lnTo>
                    <a:pt x="63" y="318"/>
                  </a:lnTo>
                  <a:lnTo>
                    <a:pt x="47" y="315"/>
                  </a:lnTo>
                  <a:lnTo>
                    <a:pt x="31" y="309"/>
                  </a:lnTo>
                  <a:lnTo>
                    <a:pt x="18" y="300"/>
                  </a:lnTo>
                  <a:lnTo>
                    <a:pt x="8" y="286"/>
                  </a:lnTo>
                  <a:lnTo>
                    <a:pt x="2" y="272"/>
                  </a:lnTo>
                  <a:lnTo>
                    <a:pt x="0" y="254"/>
                  </a:lnTo>
                  <a:lnTo>
                    <a:pt x="0" y="64"/>
                  </a:lnTo>
                  <a:lnTo>
                    <a:pt x="2" y="47"/>
                  </a:lnTo>
                  <a:lnTo>
                    <a:pt x="8" y="32"/>
                  </a:lnTo>
                  <a:lnTo>
                    <a:pt x="18" y="19"/>
                  </a:lnTo>
                  <a:lnTo>
                    <a:pt x="31" y="9"/>
                  </a:lnTo>
                  <a:lnTo>
                    <a:pt x="47" y="2"/>
                  </a:lnTo>
                  <a:lnTo>
                    <a:pt x="6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 panose="020B0502020104020203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7" name="Freeform 164">
              <a:extLst>
                <a:ext uri="{FF2B5EF4-FFF2-40B4-BE49-F238E27FC236}">
                  <a16:creationId xmlns:a16="http://schemas.microsoft.com/office/drawing/2014/main" id="{481A2F30-842C-9D59-F97E-F1A71F639B7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6913" y="2954338"/>
              <a:ext cx="31750" cy="41275"/>
            </a:xfrm>
            <a:custGeom>
              <a:avLst/>
              <a:gdLst>
                <a:gd name="T0" fmla="*/ 64 w 224"/>
                <a:gd name="T1" fmla="*/ 0 h 293"/>
                <a:gd name="T2" fmla="*/ 80 w 224"/>
                <a:gd name="T3" fmla="*/ 2 h 293"/>
                <a:gd name="T4" fmla="*/ 95 w 224"/>
                <a:gd name="T5" fmla="*/ 8 h 293"/>
                <a:gd name="T6" fmla="*/ 109 w 224"/>
                <a:gd name="T7" fmla="*/ 18 h 293"/>
                <a:gd name="T8" fmla="*/ 119 w 224"/>
                <a:gd name="T9" fmla="*/ 32 h 293"/>
                <a:gd name="T10" fmla="*/ 216 w 224"/>
                <a:gd name="T11" fmla="*/ 197 h 293"/>
                <a:gd name="T12" fmla="*/ 222 w 224"/>
                <a:gd name="T13" fmla="*/ 213 h 293"/>
                <a:gd name="T14" fmla="*/ 224 w 224"/>
                <a:gd name="T15" fmla="*/ 230 h 293"/>
                <a:gd name="T16" fmla="*/ 222 w 224"/>
                <a:gd name="T17" fmla="*/ 245 h 293"/>
                <a:gd name="T18" fmla="*/ 216 w 224"/>
                <a:gd name="T19" fmla="*/ 261 h 293"/>
                <a:gd name="T20" fmla="*/ 206 w 224"/>
                <a:gd name="T21" fmla="*/ 274 h 293"/>
                <a:gd name="T22" fmla="*/ 193 w 224"/>
                <a:gd name="T23" fmla="*/ 285 h 293"/>
                <a:gd name="T24" fmla="*/ 177 w 224"/>
                <a:gd name="T25" fmla="*/ 291 h 293"/>
                <a:gd name="T26" fmla="*/ 160 w 224"/>
                <a:gd name="T27" fmla="*/ 293 h 293"/>
                <a:gd name="T28" fmla="*/ 143 w 224"/>
                <a:gd name="T29" fmla="*/ 291 h 293"/>
                <a:gd name="T30" fmla="*/ 129 w 224"/>
                <a:gd name="T31" fmla="*/ 285 h 293"/>
                <a:gd name="T32" fmla="*/ 115 w 224"/>
                <a:gd name="T33" fmla="*/ 274 h 293"/>
                <a:gd name="T34" fmla="*/ 105 w 224"/>
                <a:gd name="T35" fmla="*/ 261 h 293"/>
                <a:gd name="T36" fmla="*/ 8 w 224"/>
                <a:gd name="T37" fmla="*/ 95 h 293"/>
                <a:gd name="T38" fmla="*/ 2 w 224"/>
                <a:gd name="T39" fmla="*/ 80 h 293"/>
                <a:gd name="T40" fmla="*/ 0 w 224"/>
                <a:gd name="T41" fmla="*/ 63 h 293"/>
                <a:gd name="T42" fmla="*/ 2 w 224"/>
                <a:gd name="T43" fmla="*/ 48 h 293"/>
                <a:gd name="T44" fmla="*/ 8 w 224"/>
                <a:gd name="T45" fmla="*/ 32 h 293"/>
                <a:gd name="T46" fmla="*/ 19 w 224"/>
                <a:gd name="T47" fmla="*/ 19 h 293"/>
                <a:gd name="T48" fmla="*/ 31 w 224"/>
                <a:gd name="T49" fmla="*/ 9 h 293"/>
                <a:gd name="T50" fmla="*/ 48 w 224"/>
                <a:gd name="T51" fmla="*/ 2 h 293"/>
                <a:gd name="T52" fmla="*/ 64 w 224"/>
                <a:gd name="T53" fmla="*/ 0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24" h="293">
                  <a:moveTo>
                    <a:pt x="64" y="0"/>
                  </a:moveTo>
                  <a:lnTo>
                    <a:pt x="80" y="2"/>
                  </a:lnTo>
                  <a:lnTo>
                    <a:pt x="95" y="8"/>
                  </a:lnTo>
                  <a:lnTo>
                    <a:pt x="109" y="18"/>
                  </a:lnTo>
                  <a:lnTo>
                    <a:pt x="119" y="32"/>
                  </a:lnTo>
                  <a:lnTo>
                    <a:pt x="216" y="197"/>
                  </a:lnTo>
                  <a:lnTo>
                    <a:pt x="222" y="213"/>
                  </a:lnTo>
                  <a:lnTo>
                    <a:pt x="224" y="230"/>
                  </a:lnTo>
                  <a:lnTo>
                    <a:pt x="222" y="245"/>
                  </a:lnTo>
                  <a:lnTo>
                    <a:pt x="216" y="261"/>
                  </a:lnTo>
                  <a:lnTo>
                    <a:pt x="206" y="274"/>
                  </a:lnTo>
                  <a:lnTo>
                    <a:pt x="193" y="285"/>
                  </a:lnTo>
                  <a:lnTo>
                    <a:pt x="177" y="291"/>
                  </a:lnTo>
                  <a:lnTo>
                    <a:pt x="160" y="293"/>
                  </a:lnTo>
                  <a:lnTo>
                    <a:pt x="143" y="291"/>
                  </a:lnTo>
                  <a:lnTo>
                    <a:pt x="129" y="285"/>
                  </a:lnTo>
                  <a:lnTo>
                    <a:pt x="115" y="274"/>
                  </a:lnTo>
                  <a:lnTo>
                    <a:pt x="105" y="261"/>
                  </a:lnTo>
                  <a:lnTo>
                    <a:pt x="8" y="95"/>
                  </a:lnTo>
                  <a:lnTo>
                    <a:pt x="2" y="80"/>
                  </a:lnTo>
                  <a:lnTo>
                    <a:pt x="0" y="63"/>
                  </a:lnTo>
                  <a:lnTo>
                    <a:pt x="2" y="48"/>
                  </a:lnTo>
                  <a:lnTo>
                    <a:pt x="8" y="32"/>
                  </a:lnTo>
                  <a:lnTo>
                    <a:pt x="19" y="19"/>
                  </a:lnTo>
                  <a:lnTo>
                    <a:pt x="31" y="9"/>
                  </a:lnTo>
                  <a:lnTo>
                    <a:pt x="48" y="2"/>
                  </a:lnTo>
                  <a:lnTo>
                    <a:pt x="6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 panose="020B0502020104020203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8" name="Freeform 165">
              <a:extLst>
                <a:ext uri="{FF2B5EF4-FFF2-40B4-BE49-F238E27FC236}">
                  <a16:creationId xmlns:a16="http://schemas.microsoft.com/office/drawing/2014/main" id="{75CB4DA8-AA1D-99C9-1FDF-90F541A55E30}"/>
                </a:ext>
              </a:extLst>
            </p:cNvPr>
            <p:cNvSpPr>
              <a:spLocks/>
            </p:cNvSpPr>
            <p:nvPr/>
          </p:nvSpPr>
          <p:spPr bwMode="auto">
            <a:xfrm>
              <a:off x="620713" y="3028950"/>
              <a:ext cx="41275" cy="33338"/>
            </a:xfrm>
            <a:custGeom>
              <a:avLst/>
              <a:gdLst>
                <a:gd name="T0" fmla="*/ 64 w 294"/>
                <a:gd name="T1" fmla="*/ 0 h 222"/>
                <a:gd name="T2" fmla="*/ 79 w 294"/>
                <a:gd name="T3" fmla="*/ 2 h 222"/>
                <a:gd name="T4" fmla="*/ 96 w 294"/>
                <a:gd name="T5" fmla="*/ 8 h 222"/>
                <a:gd name="T6" fmla="*/ 263 w 294"/>
                <a:gd name="T7" fmla="*/ 103 h 222"/>
                <a:gd name="T8" fmla="*/ 276 w 294"/>
                <a:gd name="T9" fmla="*/ 114 h 222"/>
                <a:gd name="T10" fmla="*/ 286 w 294"/>
                <a:gd name="T11" fmla="*/ 127 h 222"/>
                <a:gd name="T12" fmla="*/ 292 w 294"/>
                <a:gd name="T13" fmla="*/ 142 h 222"/>
                <a:gd name="T14" fmla="*/ 294 w 294"/>
                <a:gd name="T15" fmla="*/ 158 h 222"/>
                <a:gd name="T16" fmla="*/ 292 w 294"/>
                <a:gd name="T17" fmla="*/ 175 h 222"/>
                <a:gd name="T18" fmla="*/ 286 w 294"/>
                <a:gd name="T19" fmla="*/ 190 h 222"/>
                <a:gd name="T20" fmla="*/ 275 w 294"/>
                <a:gd name="T21" fmla="*/ 204 h 222"/>
                <a:gd name="T22" fmla="*/ 262 w 294"/>
                <a:gd name="T23" fmla="*/ 214 h 222"/>
                <a:gd name="T24" fmla="*/ 246 w 294"/>
                <a:gd name="T25" fmla="*/ 220 h 222"/>
                <a:gd name="T26" fmla="*/ 230 w 294"/>
                <a:gd name="T27" fmla="*/ 222 h 222"/>
                <a:gd name="T28" fmla="*/ 213 w 294"/>
                <a:gd name="T29" fmla="*/ 220 h 222"/>
                <a:gd name="T30" fmla="*/ 198 w 294"/>
                <a:gd name="T31" fmla="*/ 213 h 222"/>
                <a:gd name="T32" fmla="*/ 31 w 294"/>
                <a:gd name="T33" fmla="*/ 118 h 222"/>
                <a:gd name="T34" fmla="*/ 18 w 294"/>
                <a:gd name="T35" fmla="*/ 108 h 222"/>
                <a:gd name="T36" fmla="*/ 8 w 294"/>
                <a:gd name="T37" fmla="*/ 95 h 222"/>
                <a:gd name="T38" fmla="*/ 2 w 294"/>
                <a:gd name="T39" fmla="*/ 80 h 222"/>
                <a:gd name="T40" fmla="*/ 0 w 294"/>
                <a:gd name="T41" fmla="*/ 63 h 222"/>
                <a:gd name="T42" fmla="*/ 2 w 294"/>
                <a:gd name="T43" fmla="*/ 47 h 222"/>
                <a:gd name="T44" fmla="*/ 8 w 294"/>
                <a:gd name="T45" fmla="*/ 31 h 222"/>
                <a:gd name="T46" fmla="*/ 19 w 294"/>
                <a:gd name="T47" fmla="*/ 18 h 222"/>
                <a:gd name="T48" fmla="*/ 32 w 294"/>
                <a:gd name="T49" fmla="*/ 8 h 222"/>
                <a:gd name="T50" fmla="*/ 47 w 294"/>
                <a:gd name="T51" fmla="*/ 2 h 222"/>
                <a:gd name="T52" fmla="*/ 64 w 294"/>
                <a:gd name="T53" fmla="*/ 0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94" h="222">
                  <a:moveTo>
                    <a:pt x="64" y="0"/>
                  </a:moveTo>
                  <a:lnTo>
                    <a:pt x="79" y="2"/>
                  </a:lnTo>
                  <a:lnTo>
                    <a:pt x="96" y="8"/>
                  </a:lnTo>
                  <a:lnTo>
                    <a:pt x="263" y="103"/>
                  </a:lnTo>
                  <a:lnTo>
                    <a:pt x="276" y="114"/>
                  </a:lnTo>
                  <a:lnTo>
                    <a:pt x="286" y="127"/>
                  </a:lnTo>
                  <a:lnTo>
                    <a:pt x="292" y="142"/>
                  </a:lnTo>
                  <a:lnTo>
                    <a:pt x="294" y="158"/>
                  </a:lnTo>
                  <a:lnTo>
                    <a:pt x="292" y="175"/>
                  </a:lnTo>
                  <a:lnTo>
                    <a:pt x="286" y="190"/>
                  </a:lnTo>
                  <a:lnTo>
                    <a:pt x="275" y="204"/>
                  </a:lnTo>
                  <a:lnTo>
                    <a:pt x="262" y="214"/>
                  </a:lnTo>
                  <a:lnTo>
                    <a:pt x="246" y="220"/>
                  </a:lnTo>
                  <a:lnTo>
                    <a:pt x="230" y="222"/>
                  </a:lnTo>
                  <a:lnTo>
                    <a:pt x="213" y="220"/>
                  </a:lnTo>
                  <a:lnTo>
                    <a:pt x="198" y="213"/>
                  </a:lnTo>
                  <a:lnTo>
                    <a:pt x="31" y="118"/>
                  </a:lnTo>
                  <a:lnTo>
                    <a:pt x="18" y="108"/>
                  </a:lnTo>
                  <a:lnTo>
                    <a:pt x="8" y="95"/>
                  </a:lnTo>
                  <a:lnTo>
                    <a:pt x="2" y="80"/>
                  </a:lnTo>
                  <a:lnTo>
                    <a:pt x="0" y="63"/>
                  </a:lnTo>
                  <a:lnTo>
                    <a:pt x="2" y="47"/>
                  </a:lnTo>
                  <a:lnTo>
                    <a:pt x="8" y="31"/>
                  </a:lnTo>
                  <a:lnTo>
                    <a:pt x="19" y="18"/>
                  </a:lnTo>
                  <a:lnTo>
                    <a:pt x="32" y="8"/>
                  </a:lnTo>
                  <a:lnTo>
                    <a:pt x="47" y="2"/>
                  </a:lnTo>
                  <a:lnTo>
                    <a:pt x="6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 panose="020B0502020104020203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9" name="Freeform 166">
              <a:extLst>
                <a:ext uri="{FF2B5EF4-FFF2-40B4-BE49-F238E27FC236}">
                  <a16:creationId xmlns:a16="http://schemas.microsoft.com/office/drawing/2014/main" id="{8B687B38-0942-D1CE-7A66-DA2C730E18B9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138" y="3132138"/>
              <a:ext cx="46038" cy="19050"/>
            </a:xfrm>
            <a:custGeom>
              <a:avLst/>
              <a:gdLst>
                <a:gd name="T0" fmla="*/ 64 w 321"/>
                <a:gd name="T1" fmla="*/ 0 h 128"/>
                <a:gd name="T2" fmla="*/ 257 w 321"/>
                <a:gd name="T3" fmla="*/ 0 h 128"/>
                <a:gd name="T4" fmla="*/ 273 w 321"/>
                <a:gd name="T5" fmla="*/ 4 h 128"/>
                <a:gd name="T6" fmla="*/ 289 w 321"/>
                <a:gd name="T7" fmla="*/ 10 h 128"/>
                <a:gd name="T8" fmla="*/ 302 w 321"/>
                <a:gd name="T9" fmla="*/ 19 h 128"/>
                <a:gd name="T10" fmla="*/ 312 w 321"/>
                <a:gd name="T11" fmla="*/ 33 h 128"/>
                <a:gd name="T12" fmla="*/ 318 w 321"/>
                <a:gd name="T13" fmla="*/ 47 h 128"/>
                <a:gd name="T14" fmla="*/ 321 w 321"/>
                <a:gd name="T15" fmla="*/ 65 h 128"/>
                <a:gd name="T16" fmla="*/ 318 w 321"/>
                <a:gd name="T17" fmla="*/ 82 h 128"/>
                <a:gd name="T18" fmla="*/ 312 w 321"/>
                <a:gd name="T19" fmla="*/ 96 h 128"/>
                <a:gd name="T20" fmla="*/ 302 w 321"/>
                <a:gd name="T21" fmla="*/ 110 h 128"/>
                <a:gd name="T22" fmla="*/ 289 w 321"/>
                <a:gd name="T23" fmla="*/ 119 h 128"/>
                <a:gd name="T24" fmla="*/ 273 w 321"/>
                <a:gd name="T25" fmla="*/ 126 h 128"/>
                <a:gd name="T26" fmla="*/ 257 w 321"/>
                <a:gd name="T27" fmla="*/ 128 h 128"/>
                <a:gd name="T28" fmla="*/ 64 w 321"/>
                <a:gd name="T29" fmla="*/ 128 h 128"/>
                <a:gd name="T30" fmla="*/ 47 w 321"/>
                <a:gd name="T31" fmla="*/ 126 h 128"/>
                <a:gd name="T32" fmla="*/ 32 w 321"/>
                <a:gd name="T33" fmla="*/ 119 h 128"/>
                <a:gd name="T34" fmla="*/ 19 w 321"/>
                <a:gd name="T35" fmla="*/ 110 h 128"/>
                <a:gd name="T36" fmla="*/ 9 w 321"/>
                <a:gd name="T37" fmla="*/ 96 h 128"/>
                <a:gd name="T38" fmla="*/ 2 w 321"/>
                <a:gd name="T39" fmla="*/ 82 h 128"/>
                <a:gd name="T40" fmla="*/ 0 w 321"/>
                <a:gd name="T41" fmla="*/ 65 h 128"/>
                <a:gd name="T42" fmla="*/ 2 w 321"/>
                <a:gd name="T43" fmla="*/ 47 h 128"/>
                <a:gd name="T44" fmla="*/ 9 w 321"/>
                <a:gd name="T45" fmla="*/ 33 h 128"/>
                <a:gd name="T46" fmla="*/ 19 w 321"/>
                <a:gd name="T47" fmla="*/ 19 h 128"/>
                <a:gd name="T48" fmla="*/ 32 w 321"/>
                <a:gd name="T49" fmla="*/ 10 h 128"/>
                <a:gd name="T50" fmla="*/ 47 w 321"/>
                <a:gd name="T51" fmla="*/ 4 h 128"/>
                <a:gd name="T52" fmla="*/ 64 w 321"/>
                <a:gd name="T53" fmla="*/ 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21" h="128">
                  <a:moveTo>
                    <a:pt x="64" y="0"/>
                  </a:moveTo>
                  <a:lnTo>
                    <a:pt x="257" y="0"/>
                  </a:lnTo>
                  <a:lnTo>
                    <a:pt x="273" y="4"/>
                  </a:lnTo>
                  <a:lnTo>
                    <a:pt x="289" y="10"/>
                  </a:lnTo>
                  <a:lnTo>
                    <a:pt x="302" y="19"/>
                  </a:lnTo>
                  <a:lnTo>
                    <a:pt x="312" y="33"/>
                  </a:lnTo>
                  <a:lnTo>
                    <a:pt x="318" y="47"/>
                  </a:lnTo>
                  <a:lnTo>
                    <a:pt x="321" y="65"/>
                  </a:lnTo>
                  <a:lnTo>
                    <a:pt x="318" y="82"/>
                  </a:lnTo>
                  <a:lnTo>
                    <a:pt x="312" y="96"/>
                  </a:lnTo>
                  <a:lnTo>
                    <a:pt x="302" y="110"/>
                  </a:lnTo>
                  <a:lnTo>
                    <a:pt x="289" y="119"/>
                  </a:lnTo>
                  <a:lnTo>
                    <a:pt x="273" y="126"/>
                  </a:lnTo>
                  <a:lnTo>
                    <a:pt x="257" y="128"/>
                  </a:lnTo>
                  <a:lnTo>
                    <a:pt x="64" y="128"/>
                  </a:lnTo>
                  <a:lnTo>
                    <a:pt x="47" y="126"/>
                  </a:lnTo>
                  <a:lnTo>
                    <a:pt x="32" y="119"/>
                  </a:lnTo>
                  <a:lnTo>
                    <a:pt x="19" y="110"/>
                  </a:lnTo>
                  <a:lnTo>
                    <a:pt x="9" y="96"/>
                  </a:lnTo>
                  <a:lnTo>
                    <a:pt x="2" y="82"/>
                  </a:lnTo>
                  <a:lnTo>
                    <a:pt x="0" y="65"/>
                  </a:lnTo>
                  <a:lnTo>
                    <a:pt x="2" y="47"/>
                  </a:lnTo>
                  <a:lnTo>
                    <a:pt x="9" y="33"/>
                  </a:lnTo>
                  <a:lnTo>
                    <a:pt x="19" y="19"/>
                  </a:lnTo>
                  <a:lnTo>
                    <a:pt x="32" y="10"/>
                  </a:lnTo>
                  <a:lnTo>
                    <a:pt x="47" y="4"/>
                  </a:lnTo>
                  <a:lnTo>
                    <a:pt x="6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 panose="020B0502020104020203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0" name="Freeform 167">
              <a:extLst>
                <a:ext uri="{FF2B5EF4-FFF2-40B4-BE49-F238E27FC236}">
                  <a16:creationId xmlns:a16="http://schemas.microsoft.com/office/drawing/2014/main" id="{142A40D4-A3E4-547E-6093-8296D4E4B91E}"/>
                </a:ext>
              </a:extLst>
            </p:cNvPr>
            <p:cNvSpPr>
              <a:spLocks/>
            </p:cNvSpPr>
            <p:nvPr/>
          </p:nvSpPr>
          <p:spPr bwMode="auto">
            <a:xfrm>
              <a:off x="620713" y="3222625"/>
              <a:ext cx="41275" cy="31750"/>
            </a:xfrm>
            <a:custGeom>
              <a:avLst/>
              <a:gdLst>
                <a:gd name="T0" fmla="*/ 230 w 294"/>
                <a:gd name="T1" fmla="*/ 0 h 224"/>
                <a:gd name="T2" fmla="*/ 247 w 294"/>
                <a:gd name="T3" fmla="*/ 3 h 224"/>
                <a:gd name="T4" fmla="*/ 262 w 294"/>
                <a:gd name="T5" fmla="*/ 9 h 224"/>
                <a:gd name="T6" fmla="*/ 275 w 294"/>
                <a:gd name="T7" fmla="*/ 19 h 224"/>
                <a:gd name="T8" fmla="*/ 286 w 294"/>
                <a:gd name="T9" fmla="*/ 33 h 224"/>
                <a:gd name="T10" fmla="*/ 292 w 294"/>
                <a:gd name="T11" fmla="*/ 48 h 224"/>
                <a:gd name="T12" fmla="*/ 294 w 294"/>
                <a:gd name="T13" fmla="*/ 65 h 224"/>
                <a:gd name="T14" fmla="*/ 292 w 294"/>
                <a:gd name="T15" fmla="*/ 80 h 224"/>
                <a:gd name="T16" fmla="*/ 286 w 294"/>
                <a:gd name="T17" fmla="*/ 96 h 224"/>
                <a:gd name="T18" fmla="*/ 275 w 294"/>
                <a:gd name="T19" fmla="*/ 110 h 224"/>
                <a:gd name="T20" fmla="*/ 263 w 294"/>
                <a:gd name="T21" fmla="*/ 120 h 224"/>
                <a:gd name="T22" fmla="*/ 96 w 294"/>
                <a:gd name="T23" fmla="*/ 215 h 224"/>
                <a:gd name="T24" fmla="*/ 80 w 294"/>
                <a:gd name="T25" fmla="*/ 221 h 224"/>
                <a:gd name="T26" fmla="*/ 64 w 294"/>
                <a:gd name="T27" fmla="*/ 224 h 224"/>
                <a:gd name="T28" fmla="*/ 47 w 294"/>
                <a:gd name="T29" fmla="*/ 221 h 224"/>
                <a:gd name="T30" fmla="*/ 32 w 294"/>
                <a:gd name="T31" fmla="*/ 216 h 224"/>
                <a:gd name="T32" fmla="*/ 19 w 294"/>
                <a:gd name="T33" fmla="*/ 205 h 224"/>
                <a:gd name="T34" fmla="*/ 8 w 294"/>
                <a:gd name="T35" fmla="*/ 192 h 224"/>
                <a:gd name="T36" fmla="*/ 2 w 294"/>
                <a:gd name="T37" fmla="*/ 176 h 224"/>
                <a:gd name="T38" fmla="*/ 0 w 294"/>
                <a:gd name="T39" fmla="*/ 159 h 224"/>
                <a:gd name="T40" fmla="*/ 2 w 294"/>
                <a:gd name="T41" fmla="*/ 144 h 224"/>
                <a:gd name="T42" fmla="*/ 8 w 294"/>
                <a:gd name="T43" fmla="*/ 128 h 224"/>
                <a:gd name="T44" fmla="*/ 18 w 294"/>
                <a:gd name="T45" fmla="*/ 116 h 224"/>
                <a:gd name="T46" fmla="*/ 31 w 294"/>
                <a:gd name="T47" fmla="*/ 105 h 224"/>
                <a:gd name="T48" fmla="*/ 198 w 294"/>
                <a:gd name="T49" fmla="*/ 10 h 224"/>
                <a:gd name="T50" fmla="*/ 215 w 294"/>
                <a:gd name="T51" fmla="*/ 2 h 224"/>
                <a:gd name="T52" fmla="*/ 230 w 294"/>
                <a:gd name="T53" fmla="*/ 0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94" h="224">
                  <a:moveTo>
                    <a:pt x="230" y="0"/>
                  </a:moveTo>
                  <a:lnTo>
                    <a:pt x="247" y="3"/>
                  </a:lnTo>
                  <a:lnTo>
                    <a:pt x="262" y="9"/>
                  </a:lnTo>
                  <a:lnTo>
                    <a:pt x="275" y="19"/>
                  </a:lnTo>
                  <a:lnTo>
                    <a:pt x="286" y="33"/>
                  </a:lnTo>
                  <a:lnTo>
                    <a:pt x="292" y="48"/>
                  </a:lnTo>
                  <a:lnTo>
                    <a:pt x="294" y="65"/>
                  </a:lnTo>
                  <a:lnTo>
                    <a:pt x="292" y="80"/>
                  </a:lnTo>
                  <a:lnTo>
                    <a:pt x="286" y="96"/>
                  </a:lnTo>
                  <a:lnTo>
                    <a:pt x="275" y="110"/>
                  </a:lnTo>
                  <a:lnTo>
                    <a:pt x="263" y="120"/>
                  </a:lnTo>
                  <a:lnTo>
                    <a:pt x="96" y="215"/>
                  </a:lnTo>
                  <a:lnTo>
                    <a:pt x="80" y="221"/>
                  </a:lnTo>
                  <a:lnTo>
                    <a:pt x="64" y="224"/>
                  </a:lnTo>
                  <a:lnTo>
                    <a:pt x="47" y="221"/>
                  </a:lnTo>
                  <a:lnTo>
                    <a:pt x="32" y="216"/>
                  </a:lnTo>
                  <a:lnTo>
                    <a:pt x="19" y="205"/>
                  </a:lnTo>
                  <a:lnTo>
                    <a:pt x="8" y="192"/>
                  </a:lnTo>
                  <a:lnTo>
                    <a:pt x="2" y="176"/>
                  </a:lnTo>
                  <a:lnTo>
                    <a:pt x="0" y="159"/>
                  </a:lnTo>
                  <a:lnTo>
                    <a:pt x="2" y="144"/>
                  </a:lnTo>
                  <a:lnTo>
                    <a:pt x="8" y="128"/>
                  </a:lnTo>
                  <a:lnTo>
                    <a:pt x="18" y="116"/>
                  </a:lnTo>
                  <a:lnTo>
                    <a:pt x="31" y="105"/>
                  </a:lnTo>
                  <a:lnTo>
                    <a:pt x="198" y="10"/>
                  </a:lnTo>
                  <a:lnTo>
                    <a:pt x="215" y="2"/>
                  </a:lnTo>
                  <a:lnTo>
                    <a:pt x="23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 panose="020B0502020104020203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1" name="Freeform 168">
              <a:extLst>
                <a:ext uri="{FF2B5EF4-FFF2-40B4-BE49-F238E27FC236}">
                  <a16:creationId xmlns:a16="http://schemas.microsoft.com/office/drawing/2014/main" id="{452A5347-DD02-3D38-75C1-7AA1E23AB28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263" y="3222625"/>
              <a:ext cx="41275" cy="31750"/>
            </a:xfrm>
            <a:custGeom>
              <a:avLst/>
              <a:gdLst>
                <a:gd name="T0" fmla="*/ 64 w 294"/>
                <a:gd name="T1" fmla="*/ 0 h 224"/>
                <a:gd name="T2" fmla="*/ 80 w 294"/>
                <a:gd name="T3" fmla="*/ 2 h 224"/>
                <a:gd name="T4" fmla="*/ 96 w 294"/>
                <a:gd name="T5" fmla="*/ 10 h 224"/>
                <a:gd name="T6" fmla="*/ 263 w 294"/>
                <a:gd name="T7" fmla="*/ 105 h 224"/>
                <a:gd name="T8" fmla="*/ 276 w 294"/>
                <a:gd name="T9" fmla="*/ 116 h 224"/>
                <a:gd name="T10" fmla="*/ 286 w 294"/>
                <a:gd name="T11" fmla="*/ 128 h 224"/>
                <a:gd name="T12" fmla="*/ 292 w 294"/>
                <a:gd name="T13" fmla="*/ 144 h 224"/>
                <a:gd name="T14" fmla="*/ 294 w 294"/>
                <a:gd name="T15" fmla="*/ 159 h 224"/>
                <a:gd name="T16" fmla="*/ 292 w 294"/>
                <a:gd name="T17" fmla="*/ 176 h 224"/>
                <a:gd name="T18" fmla="*/ 286 w 294"/>
                <a:gd name="T19" fmla="*/ 192 h 224"/>
                <a:gd name="T20" fmla="*/ 275 w 294"/>
                <a:gd name="T21" fmla="*/ 205 h 224"/>
                <a:gd name="T22" fmla="*/ 262 w 294"/>
                <a:gd name="T23" fmla="*/ 216 h 224"/>
                <a:gd name="T24" fmla="*/ 247 w 294"/>
                <a:gd name="T25" fmla="*/ 221 h 224"/>
                <a:gd name="T26" fmla="*/ 230 w 294"/>
                <a:gd name="T27" fmla="*/ 224 h 224"/>
                <a:gd name="T28" fmla="*/ 214 w 294"/>
                <a:gd name="T29" fmla="*/ 221 h 224"/>
                <a:gd name="T30" fmla="*/ 198 w 294"/>
                <a:gd name="T31" fmla="*/ 215 h 224"/>
                <a:gd name="T32" fmla="*/ 31 w 294"/>
                <a:gd name="T33" fmla="*/ 120 h 224"/>
                <a:gd name="T34" fmla="*/ 19 w 294"/>
                <a:gd name="T35" fmla="*/ 110 h 224"/>
                <a:gd name="T36" fmla="*/ 8 w 294"/>
                <a:gd name="T37" fmla="*/ 96 h 224"/>
                <a:gd name="T38" fmla="*/ 2 w 294"/>
                <a:gd name="T39" fmla="*/ 80 h 224"/>
                <a:gd name="T40" fmla="*/ 0 w 294"/>
                <a:gd name="T41" fmla="*/ 65 h 224"/>
                <a:gd name="T42" fmla="*/ 2 w 294"/>
                <a:gd name="T43" fmla="*/ 48 h 224"/>
                <a:gd name="T44" fmla="*/ 8 w 294"/>
                <a:gd name="T45" fmla="*/ 33 h 224"/>
                <a:gd name="T46" fmla="*/ 19 w 294"/>
                <a:gd name="T47" fmla="*/ 19 h 224"/>
                <a:gd name="T48" fmla="*/ 32 w 294"/>
                <a:gd name="T49" fmla="*/ 9 h 224"/>
                <a:gd name="T50" fmla="*/ 47 w 294"/>
                <a:gd name="T51" fmla="*/ 3 h 224"/>
                <a:gd name="T52" fmla="*/ 64 w 294"/>
                <a:gd name="T53" fmla="*/ 0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94" h="224">
                  <a:moveTo>
                    <a:pt x="64" y="0"/>
                  </a:moveTo>
                  <a:lnTo>
                    <a:pt x="80" y="2"/>
                  </a:lnTo>
                  <a:lnTo>
                    <a:pt x="96" y="10"/>
                  </a:lnTo>
                  <a:lnTo>
                    <a:pt x="263" y="105"/>
                  </a:lnTo>
                  <a:lnTo>
                    <a:pt x="276" y="116"/>
                  </a:lnTo>
                  <a:lnTo>
                    <a:pt x="286" y="128"/>
                  </a:lnTo>
                  <a:lnTo>
                    <a:pt x="292" y="144"/>
                  </a:lnTo>
                  <a:lnTo>
                    <a:pt x="294" y="159"/>
                  </a:lnTo>
                  <a:lnTo>
                    <a:pt x="292" y="176"/>
                  </a:lnTo>
                  <a:lnTo>
                    <a:pt x="286" y="192"/>
                  </a:lnTo>
                  <a:lnTo>
                    <a:pt x="275" y="205"/>
                  </a:lnTo>
                  <a:lnTo>
                    <a:pt x="262" y="216"/>
                  </a:lnTo>
                  <a:lnTo>
                    <a:pt x="247" y="221"/>
                  </a:lnTo>
                  <a:lnTo>
                    <a:pt x="230" y="224"/>
                  </a:lnTo>
                  <a:lnTo>
                    <a:pt x="214" y="221"/>
                  </a:lnTo>
                  <a:lnTo>
                    <a:pt x="198" y="215"/>
                  </a:lnTo>
                  <a:lnTo>
                    <a:pt x="31" y="120"/>
                  </a:lnTo>
                  <a:lnTo>
                    <a:pt x="19" y="110"/>
                  </a:lnTo>
                  <a:lnTo>
                    <a:pt x="8" y="96"/>
                  </a:lnTo>
                  <a:lnTo>
                    <a:pt x="2" y="80"/>
                  </a:lnTo>
                  <a:lnTo>
                    <a:pt x="0" y="65"/>
                  </a:lnTo>
                  <a:lnTo>
                    <a:pt x="2" y="48"/>
                  </a:lnTo>
                  <a:lnTo>
                    <a:pt x="8" y="33"/>
                  </a:lnTo>
                  <a:lnTo>
                    <a:pt x="19" y="19"/>
                  </a:lnTo>
                  <a:lnTo>
                    <a:pt x="32" y="9"/>
                  </a:lnTo>
                  <a:lnTo>
                    <a:pt x="47" y="3"/>
                  </a:lnTo>
                  <a:lnTo>
                    <a:pt x="6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 panose="020B0502020104020203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2" name="Freeform 169">
              <a:extLst>
                <a:ext uri="{FF2B5EF4-FFF2-40B4-BE49-F238E27FC236}">
                  <a16:creationId xmlns:a16="http://schemas.microsoft.com/office/drawing/2014/main" id="{0C27603D-DAB5-D850-163B-0FF61A652BA6}"/>
                </a:ext>
              </a:extLst>
            </p:cNvPr>
            <p:cNvSpPr>
              <a:spLocks/>
            </p:cNvSpPr>
            <p:nvPr/>
          </p:nvSpPr>
          <p:spPr bwMode="auto">
            <a:xfrm>
              <a:off x="981076" y="3132138"/>
              <a:ext cx="46038" cy="19050"/>
            </a:xfrm>
            <a:custGeom>
              <a:avLst/>
              <a:gdLst>
                <a:gd name="T0" fmla="*/ 64 w 321"/>
                <a:gd name="T1" fmla="*/ 0 h 128"/>
                <a:gd name="T2" fmla="*/ 257 w 321"/>
                <a:gd name="T3" fmla="*/ 0 h 128"/>
                <a:gd name="T4" fmla="*/ 274 w 321"/>
                <a:gd name="T5" fmla="*/ 4 h 128"/>
                <a:gd name="T6" fmla="*/ 290 w 321"/>
                <a:gd name="T7" fmla="*/ 10 h 128"/>
                <a:gd name="T8" fmla="*/ 302 w 321"/>
                <a:gd name="T9" fmla="*/ 19 h 128"/>
                <a:gd name="T10" fmla="*/ 312 w 321"/>
                <a:gd name="T11" fmla="*/ 33 h 128"/>
                <a:gd name="T12" fmla="*/ 319 w 321"/>
                <a:gd name="T13" fmla="*/ 47 h 128"/>
                <a:gd name="T14" fmla="*/ 321 w 321"/>
                <a:gd name="T15" fmla="*/ 65 h 128"/>
                <a:gd name="T16" fmla="*/ 319 w 321"/>
                <a:gd name="T17" fmla="*/ 82 h 128"/>
                <a:gd name="T18" fmla="*/ 312 w 321"/>
                <a:gd name="T19" fmla="*/ 96 h 128"/>
                <a:gd name="T20" fmla="*/ 302 w 321"/>
                <a:gd name="T21" fmla="*/ 110 h 128"/>
                <a:gd name="T22" fmla="*/ 290 w 321"/>
                <a:gd name="T23" fmla="*/ 119 h 128"/>
                <a:gd name="T24" fmla="*/ 274 w 321"/>
                <a:gd name="T25" fmla="*/ 126 h 128"/>
                <a:gd name="T26" fmla="*/ 257 w 321"/>
                <a:gd name="T27" fmla="*/ 128 h 128"/>
                <a:gd name="T28" fmla="*/ 64 w 321"/>
                <a:gd name="T29" fmla="*/ 128 h 128"/>
                <a:gd name="T30" fmla="*/ 48 w 321"/>
                <a:gd name="T31" fmla="*/ 126 h 128"/>
                <a:gd name="T32" fmla="*/ 32 w 321"/>
                <a:gd name="T33" fmla="*/ 119 h 128"/>
                <a:gd name="T34" fmla="*/ 19 w 321"/>
                <a:gd name="T35" fmla="*/ 110 h 128"/>
                <a:gd name="T36" fmla="*/ 9 w 321"/>
                <a:gd name="T37" fmla="*/ 96 h 128"/>
                <a:gd name="T38" fmla="*/ 3 w 321"/>
                <a:gd name="T39" fmla="*/ 82 h 128"/>
                <a:gd name="T40" fmla="*/ 0 w 321"/>
                <a:gd name="T41" fmla="*/ 65 h 128"/>
                <a:gd name="T42" fmla="*/ 3 w 321"/>
                <a:gd name="T43" fmla="*/ 47 h 128"/>
                <a:gd name="T44" fmla="*/ 9 w 321"/>
                <a:gd name="T45" fmla="*/ 33 h 128"/>
                <a:gd name="T46" fmla="*/ 19 w 321"/>
                <a:gd name="T47" fmla="*/ 19 h 128"/>
                <a:gd name="T48" fmla="*/ 32 w 321"/>
                <a:gd name="T49" fmla="*/ 10 h 128"/>
                <a:gd name="T50" fmla="*/ 48 w 321"/>
                <a:gd name="T51" fmla="*/ 4 h 128"/>
                <a:gd name="T52" fmla="*/ 64 w 321"/>
                <a:gd name="T53" fmla="*/ 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21" h="128">
                  <a:moveTo>
                    <a:pt x="64" y="0"/>
                  </a:moveTo>
                  <a:lnTo>
                    <a:pt x="257" y="0"/>
                  </a:lnTo>
                  <a:lnTo>
                    <a:pt x="274" y="4"/>
                  </a:lnTo>
                  <a:lnTo>
                    <a:pt x="290" y="10"/>
                  </a:lnTo>
                  <a:lnTo>
                    <a:pt x="302" y="19"/>
                  </a:lnTo>
                  <a:lnTo>
                    <a:pt x="312" y="33"/>
                  </a:lnTo>
                  <a:lnTo>
                    <a:pt x="319" y="47"/>
                  </a:lnTo>
                  <a:lnTo>
                    <a:pt x="321" y="65"/>
                  </a:lnTo>
                  <a:lnTo>
                    <a:pt x="319" y="82"/>
                  </a:lnTo>
                  <a:lnTo>
                    <a:pt x="312" y="96"/>
                  </a:lnTo>
                  <a:lnTo>
                    <a:pt x="302" y="110"/>
                  </a:lnTo>
                  <a:lnTo>
                    <a:pt x="290" y="119"/>
                  </a:lnTo>
                  <a:lnTo>
                    <a:pt x="274" y="126"/>
                  </a:lnTo>
                  <a:lnTo>
                    <a:pt x="257" y="128"/>
                  </a:lnTo>
                  <a:lnTo>
                    <a:pt x="64" y="128"/>
                  </a:lnTo>
                  <a:lnTo>
                    <a:pt x="48" y="126"/>
                  </a:lnTo>
                  <a:lnTo>
                    <a:pt x="32" y="119"/>
                  </a:lnTo>
                  <a:lnTo>
                    <a:pt x="19" y="110"/>
                  </a:lnTo>
                  <a:lnTo>
                    <a:pt x="9" y="96"/>
                  </a:lnTo>
                  <a:lnTo>
                    <a:pt x="3" y="82"/>
                  </a:lnTo>
                  <a:lnTo>
                    <a:pt x="0" y="65"/>
                  </a:lnTo>
                  <a:lnTo>
                    <a:pt x="3" y="47"/>
                  </a:lnTo>
                  <a:lnTo>
                    <a:pt x="9" y="33"/>
                  </a:lnTo>
                  <a:lnTo>
                    <a:pt x="19" y="19"/>
                  </a:lnTo>
                  <a:lnTo>
                    <a:pt x="32" y="10"/>
                  </a:lnTo>
                  <a:lnTo>
                    <a:pt x="48" y="4"/>
                  </a:lnTo>
                  <a:lnTo>
                    <a:pt x="6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 panose="020B0502020104020203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3" name="Freeform 170">
              <a:extLst>
                <a:ext uri="{FF2B5EF4-FFF2-40B4-BE49-F238E27FC236}">
                  <a16:creationId xmlns:a16="http://schemas.microsoft.com/office/drawing/2014/main" id="{129360D6-0533-93FB-D46C-179169459064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263" y="3028950"/>
              <a:ext cx="41275" cy="33338"/>
            </a:xfrm>
            <a:custGeom>
              <a:avLst/>
              <a:gdLst>
                <a:gd name="T0" fmla="*/ 230 w 294"/>
                <a:gd name="T1" fmla="*/ 0 h 222"/>
                <a:gd name="T2" fmla="*/ 247 w 294"/>
                <a:gd name="T3" fmla="*/ 2 h 222"/>
                <a:gd name="T4" fmla="*/ 262 w 294"/>
                <a:gd name="T5" fmla="*/ 8 h 222"/>
                <a:gd name="T6" fmla="*/ 275 w 294"/>
                <a:gd name="T7" fmla="*/ 18 h 222"/>
                <a:gd name="T8" fmla="*/ 286 w 294"/>
                <a:gd name="T9" fmla="*/ 31 h 222"/>
                <a:gd name="T10" fmla="*/ 292 w 294"/>
                <a:gd name="T11" fmla="*/ 47 h 222"/>
                <a:gd name="T12" fmla="*/ 294 w 294"/>
                <a:gd name="T13" fmla="*/ 63 h 222"/>
                <a:gd name="T14" fmla="*/ 292 w 294"/>
                <a:gd name="T15" fmla="*/ 80 h 222"/>
                <a:gd name="T16" fmla="*/ 286 w 294"/>
                <a:gd name="T17" fmla="*/ 95 h 222"/>
                <a:gd name="T18" fmla="*/ 276 w 294"/>
                <a:gd name="T19" fmla="*/ 108 h 222"/>
                <a:gd name="T20" fmla="*/ 263 w 294"/>
                <a:gd name="T21" fmla="*/ 118 h 222"/>
                <a:gd name="T22" fmla="*/ 96 w 294"/>
                <a:gd name="T23" fmla="*/ 213 h 222"/>
                <a:gd name="T24" fmla="*/ 80 w 294"/>
                <a:gd name="T25" fmla="*/ 220 h 222"/>
                <a:gd name="T26" fmla="*/ 64 w 294"/>
                <a:gd name="T27" fmla="*/ 222 h 222"/>
                <a:gd name="T28" fmla="*/ 48 w 294"/>
                <a:gd name="T29" fmla="*/ 220 h 222"/>
                <a:gd name="T30" fmla="*/ 32 w 294"/>
                <a:gd name="T31" fmla="*/ 214 h 222"/>
                <a:gd name="T32" fmla="*/ 19 w 294"/>
                <a:gd name="T33" fmla="*/ 204 h 222"/>
                <a:gd name="T34" fmla="*/ 8 w 294"/>
                <a:gd name="T35" fmla="*/ 190 h 222"/>
                <a:gd name="T36" fmla="*/ 2 w 294"/>
                <a:gd name="T37" fmla="*/ 175 h 222"/>
                <a:gd name="T38" fmla="*/ 0 w 294"/>
                <a:gd name="T39" fmla="*/ 158 h 222"/>
                <a:gd name="T40" fmla="*/ 2 w 294"/>
                <a:gd name="T41" fmla="*/ 142 h 222"/>
                <a:gd name="T42" fmla="*/ 8 w 294"/>
                <a:gd name="T43" fmla="*/ 127 h 222"/>
                <a:gd name="T44" fmla="*/ 19 w 294"/>
                <a:gd name="T45" fmla="*/ 114 h 222"/>
                <a:gd name="T46" fmla="*/ 31 w 294"/>
                <a:gd name="T47" fmla="*/ 103 h 222"/>
                <a:gd name="T48" fmla="*/ 198 w 294"/>
                <a:gd name="T49" fmla="*/ 8 h 222"/>
                <a:gd name="T50" fmla="*/ 215 w 294"/>
                <a:gd name="T51" fmla="*/ 2 h 222"/>
                <a:gd name="T52" fmla="*/ 230 w 294"/>
                <a:gd name="T53" fmla="*/ 0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94" h="222">
                  <a:moveTo>
                    <a:pt x="230" y="0"/>
                  </a:moveTo>
                  <a:lnTo>
                    <a:pt x="247" y="2"/>
                  </a:lnTo>
                  <a:lnTo>
                    <a:pt x="262" y="8"/>
                  </a:lnTo>
                  <a:lnTo>
                    <a:pt x="275" y="18"/>
                  </a:lnTo>
                  <a:lnTo>
                    <a:pt x="286" y="31"/>
                  </a:lnTo>
                  <a:lnTo>
                    <a:pt x="292" y="47"/>
                  </a:lnTo>
                  <a:lnTo>
                    <a:pt x="294" y="63"/>
                  </a:lnTo>
                  <a:lnTo>
                    <a:pt x="292" y="80"/>
                  </a:lnTo>
                  <a:lnTo>
                    <a:pt x="286" y="95"/>
                  </a:lnTo>
                  <a:lnTo>
                    <a:pt x="276" y="108"/>
                  </a:lnTo>
                  <a:lnTo>
                    <a:pt x="263" y="118"/>
                  </a:lnTo>
                  <a:lnTo>
                    <a:pt x="96" y="213"/>
                  </a:lnTo>
                  <a:lnTo>
                    <a:pt x="80" y="220"/>
                  </a:lnTo>
                  <a:lnTo>
                    <a:pt x="64" y="222"/>
                  </a:lnTo>
                  <a:lnTo>
                    <a:pt x="48" y="220"/>
                  </a:lnTo>
                  <a:lnTo>
                    <a:pt x="32" y="214"/>
                  </a:lnTo>
                  <a:lnTo>
                    <a:pt x="19" y="204"/>
                  </a:lnTo>
                  <a:lnTo>
                    <a:pt x="8" y="190"/>
                  </a:lnTo>
                  <a:lnTo>
                    <a:pt x="2" y="175"/>
                  </a:lnTo>
                  <a:lnTo>
                    <a:pt x="0" y="158"/>
                  </a:lnTo>
                  <a:lnTo>
                    <a:pt x="2" y="142"/>
                  </a:lnTo>
                  <a:lnTo>
                    <a:pt x="8" y="127"/>
                  </a:lnTo>
                  <a:lnTo>
                    <a:pt x="19" y="114"/>
                  </a:lnTo>
                  <a:lnTo>
                    <a:pt x="31" y="103"/>
                  </a:lnTo>
                  <a:lnTo>
                    <a:pt x="198" y="8"/>
                  </a:lnTo>
                  <a:lnTo>
                    <a:pt x="215" y="2"/>
                  </a:lnTo>
                  <a:lnTo>
                    <a:pt x="23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 panose="020B0502020104020203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4" name="Freeform 171">
              <a:extLst>
                <a:ext uri="{FF2B5EF4-FFF2-40B4-BE49-F238E27FC236}">
                  <a16:creationId xmlns:a16="http://schemas.microsoft.com/office/drawing/2014/main" id="{A0599FC8-8E6B-72A2-3581-6EB3FD45716B}"/>
                </a:ext>
              </a:extLst>
            </p:cNvPr>
            <p:cNvSpPr>
              <a:spLocks/>
            </p:cNvSpPr>
            <p:nvPr/>
          </p:nvSpPr>
          <p:spPr bwMode="auto">
            <a:xfrm>
              <a:off x="890588" y="2954338"/>
              <a:ext cx="31750" cy="41275"/>
            </a:xfrm>
            <a:custGeom>
              <a:avLst/>
              <a:gdLst>
                <a:gd name="T0" fmla="*/ 159 w 224"/>
                <a:gd name="T1" fmla="*/ 0 h 292"/>
                <a:gd name="T2" fmla="*/ 176 w 224"/>
                <a:gd name="T3" fmla="*/ 2 h 292"/>
                <a:gd name="T4" fmla="*/ 192 w 224"/>
                <a:gd name="T5" fmla="*/ 9 h 292"/>
                <a:gd name="T6" fmla="*/ 205 w 224"/>
                <a:gd name="T7" fmla="*/ 19 h 292"/>
                <a:gd name="T8" fmla="*/ 216 w 224"/>
                <a:gd name="T9" fmla="*/ 32 h 292"/>
                <a:gd name="T10" fmla="*/ 222 w 224"/>
                <a:gd name="T11" fmla="*/ 48 h 292"/>
                <a:gd name="T12" fmla="*/ 224 w 224"/>
                <a:gd name="T13" fmla="*/ 63 h 292"/>
                <a:gd name="T14" fmla="*/ 222 w 224"/>
                <a:gd name="T15" fmla="*/ 80 h 292"/>
                <a:gd name="T16" fmla="*/ 216 w 224"/>
                <a:gd name="T17" fmla="*/ 95 h 292"/>
                <a:gd name="T18" fmla="*/ 119 w 224"/>
                <a:gd name="T19" fmla="*/ 261 h 292"/>
                <a:gd name="T20" fmla="*/ 109 w 224"/>
                <a:gd name="T21" fmla="*/ 274 h 292"/>
                <a:gd name="T22" fmla="*/ 95 w 224"/>
                <a:gd name="T23" fmla="*/ 285 h 292"/>
                <a:gd name="T24" fmla="*/ 81 w 224"/>
                <a:gd name="T25" fmla="*/ 290 h 292"/>
                <a:gd name="T26" fmla="*/ 64 w 224"/>
                <a:gd name="T27" fmla="*/ 292 h 292"/>
                <a:gd name="T28" fmla="*/ 48 w 224"/>
                <a:gd name="T29" fmla="*/ 290 h 292"/>
                <a:gd name="T30" fmla="*/ 32 w 224"/>
                <a:gd name="T31" fmla="*/ 284 h 292"/>
                <a:gd name="T32" fmla="*/ 18 w 224"/>
                <a:gd name="T33" fmla="*/ 273 h 292"/>
                <a:gd name="T34" fmla="*/ 8 w 224"/>
                <a:gd name="T35" fmla="*/ 261 h 292"/>
                <a:gd name="T36" fmla="*/ 2 w 224"/>
                <a:gd name="T37" fmla="*/ 245 h 292"/>
                <a:gd name="T38" fmla="*/ 0 w 224"/>
                <a:gd name="T39" fmla="*/ 230 h 292"/>
                <a:gd name="T40" fmla="*/ 2 w 224"/>
                <a:gd name="T41" fmla="*/ 213 h 292"/>
                <a:gd name="T42" fmla="*/ 8 w 224"/>
                <a:gd name="T43" fmla="*/ 197 h 292"/>
                <a:gd name="T44" fmla="*/ 105 w 224"/>
                <a:gd name="T45" fmla="*/ 32 h 292"/>
                <a:gd name="T46" fmla="*/ 115 w 224"/>
                <a:gd name="T47" fmla="*/ 18 h 292"/>
                <a:gd name="T48" fmla="*/ 129 w 224"/>
                <a:gd name="T49" fmla="*/ 8 h 292"/>
                <a:gd name="T50" fmla="*/ 144 w 224"/>
                <a:gd name="T51" fmla="*/ 2 h 292"/>
                <a:gd name="T52" fmla="*/ 159 w 224"/>
                <a:gd name="T53" fmla="*/ 0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24" h="292">
                  <a:moveTo>
                    <a:pt x="159" y="0"/>
                  </a:moveTo>
                  <a:lnTo>
                    <a:pt x="176" y="2"/>
                  </a:lnTo>
                  <a:lnTo>
                    <a:pt x="192" y="9"/>
                  </a:lnTo>
                  <a:lnTo>
                    <a:pt x="205" y="19"/>
                  </a:lnTo>
                  <a:lnTo>
                    <a:pt x="216" y="32"/>
                  </a:lnTo>
                  <a:lnTo>
                    <a:pt x="222" y="48"/>
                  </a:lnTo>
                  <a:lnTo>
                    <a:pt x="224" y="63"/>
                  </a:lnTo>
                  <a:lnTo>
                    <a:pt x="222" y="80"/>
                  </a:lnTo>
                  <a:lnTo>
                    <a:pt x="216" y="95"/>
                  </a:lnTo>
                  <a:lnTo>
                    <a:pt x="119" y="261"/>
                  </a:lnTo>
                  <a:lnTo>
                    <a:pt x="109" y="274"/>
                  </a:lnTo>
                  <a:lnTo>
                    <a:pt x="95" y="285"/>
                  </a:lnTo>
                  <a:lnTo>
                    <a:pt x="81" y="290"/>
                  </a:lnTo>
                  <a:lnTo>
                    <a:pt x="64" y="292"/>
                  </a:lnTo>
                  <a:lnTo>
                    <a:pt x="48" y="290"/>
                  </a:lnTo>
                  <a:lnTo>
                    <a:pt x="32" y="284"/>
                  </a:lnTo>
                  <a:lnTo>
                    <a:pt x="18" y="273"/>
                  </a:lnTo>
                  <a:lnTo>
                    <a:pt x="8" y="261"/>
                  </a:lnTo>
                  <a:lnTo>
                    <a:pt x="2" y="245"/>
                  </a:lnTo>
                  <a:lnTo>
                    <a:pt x="0" y="230"/>
                  </a:lnTo>
                  <a:lnTo>
                    <a:pt x="2" y="213"/>
                  </a:lnTo>
                  <a:lnTo>
                    <a:pt x="8" y="197"/>
                  </a:lnTo>
                  <a:lnTo>
                    <a:pt x="105" y="32"/>
                  </a:lnTo>
                  <a:lnTo>
                    <a:pt x="115" y="18"/>
                  </a:lnTo>
                  <a:lnTo>
                    <a:pt x="129" y="8"/>
                  </a:lnTo>
                  <a:lnTo>
                    <a:pt x="144" y="2"/>
                  </a:lnTo>
                  <a:lnTo>
                    <a:pt x="15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 panose="020B0502020104020203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5" name="Freeform 172">
              <a:extLst>
                <a:ext uri="{FF2B5EF4-FFF2-40B4-BE49-F238E27FC236}">
                  <a16:creationId xmlns:a16="http://schemas.microsoft.com/office/drawing/2014/main" id="{8FB3C952-110A-82AB-FBCF-510E76BF7B0E}"/>
                </a:ext>
              </a:extLst>
            </p:cNvPr>
            <p:cNvSpPr>
              <a:spLocks/>
            </p:cNvSpPr>
            <p:nvPr/>
          </p:nvSpPr>
          <p:spPr bwMode="auto">
            <a:xfrm>
              <a:off x="787401" y="3065463"/>
              <a:ext cx="44450" cy="142875"/>
            </a:xfrm>
            <a:custGeom>
              <a:avLst/>
              <a:gdLst>
                <a:gd name="T0" fmla="*/ 154 w 308"/>
                <a:gd name="T1" fmla="*/ 0 h 991"/>
                <a:gd name="T2" fmla="*/ 186 w 308"/>
                <a:gd name="T3" fmla="*/ 2 h 991"/>
                <a:gd name="T4" fmla="*/ 213 w 308"/>
                <a:gd name="T5" fmla="*/ 8 h 991"/>
                <a:gd name="T6" fmla="*/ 238 w 308"/>
                <a:gd name="T7" fmla="*/ 17 h 991"/>
                <a:gd name="T8" fmla="*/ 259 w 308"/>
                <a:gd name="T9" fmla="*/ 30 h 991"/>
                <a:gd name="T10" fmla="*/ 277 w 308"/>
                <a:gd name="T11" fmla="*/ 47 h 991"/>
                <a:gd name="T12" fmla="*/ 291 w 308"/>
                <a:gd name="T13" fmla="*/ 67 h 991"/>
                <a:gd name="T14" fmla="*/ 301 w 308"/>
                <a:gd name="T15" fmla="*/ 91 h 991"/>
                <a:gd name="T16" fmla="*/ 306 w 308"/>
                <a:gd name="T17" fmla="*/ 119 h 991"/>
                <a:gd name="T18" fmla="*/ 308 w 308"/>
                <a:gd name="T19" fmla="*/ 150 h 991"/>
                <a:gd name="T20" fmla="*/ 308 w 308"/>
                <a:gd name="T21" fmla="*/ 375 h 991"/>
                <a:gd name="T22" fmla="*/ 307 w 308"/>
                <a:gd name="T23" fmla="*/ 405 h 991"/>
                <a:gd name="T24" fmla="*/ 304 w 308"/>
                <a:gd name="T25" fmla="*/ 435 h 991"/>
                <a:gd name="T26" fmla="*/ 301 w 308"/>
                <a:gd name="T27" fmla="*/ 466 h 991"/>
                <a:gd name="T28" fmla="*/ 240 w 308"/>
                <a:gd name="T29" fmla="*/ 920 h 991"/>
                <a:gd name="T30" fmla="*/ 236 w 308"/>
                <a:gd name="T31" fmla="*/ 942 h 991"/>
                <a:gd name="T32" fmla="*/ 229 w 308"/>
                <a:gd name="T33" fmla="*/ 959 h 991"/>
                <a:gd name="T34" fmla="*/ 219 w 308"/>
                <a:gd name="T35" fmla="*/ 972 h 991"/>
                <a:gd name="T36" fmla="*/ 207 w 308"/>
                <a:gd name="T37" fmla="*/ 981 h 991"/>
                <a:gd name="T38" fmla="*/ 192 w 308"/>
                <a:gd name="T39" fmla="*/ 987 h 991"/>
                <a:gd name="T40" fmla="*/ 174 w 308"/>
                <a:gd name="T41" fmla="*/ 990 h 991"/>
                <a:gd name="T42" fmla="*/ 154 w 308"/>
                <a:gd name="T43" fmla="*/ 991 h 991"/>
                <a:gd name="T44" fmla="*/ 135 w 308"/>
                <a:gd name="T45" fmla="*/ 990 h 991"/>
                <a:gd name="T46" fmla="*/ 117 w 308"/>
                <a:gd name="T47" fmla="*/ 987 h 991"/>
                <a:gd name="T48" fmla="*/ 102 w 308"/>
                <a:gd name="T49" fmla="*/ 981 h 991"/>
                <a:gd name="T50" fmla="*/ 90 w 308"/>
                <a:gd name="T51" fmla="*/ 972 h 991"/>
                <a:gd name="T52" fmla="*/ 80 w 308"/>
                <a:gd name="T53" fmla="*/ 959 h 991"/>
                <a:gd name="T54" fmla="*/ 73 w 308"/>
                <a:gd name="T55" fmla="*/ 942 h 991"/>
                <a:gd name="T56" fmla="*/ 69 w 308"/>
                <a:gd name="T57" fmla="*/ 920 h 991"/>
                <a:gd name="T58" fmla="*/ 8 w 308"/>
                <a:gd name="T59" fmla="*/ 466 h 991"/>
                <a:gd name="T60" fmla="*/ 5 w 308"/>
                <a:gd name="T61" fmla="*/ 435 h 991"/>
                <a:gd name="T62" fmla="*/ 2 w 308"/>
                <a:gd name="T63" fmla="*/ 405 h 991"/>
                <a:gd name="T64" fmla="*/ 0 w 308"/>
                <a:gd name="T65" fmla="*/ 375 h 991"/>
                <a:gd name="T66" fmla="*/ 0 w 308"/>
                <a:gd name="T67" fmla="*/ 150 h 991"/>
                <a:gd name="T68" fmla="*/ 3 w 308"/>
                <a:gd name="T69" fmla="*/ 119 h 991"/>
                <a:gd name="T70" fmla="*/ 8 w 308"/>
                <a:gd name="T71" fmla="*/ 91 h 991"/>
                <a:gd name="T72" fmla="*/ 18 w 308"/>
                <a:gd name="T73" fmla="*/ 67 h 991"/>
                <a:gd name="T74" fmla="*/ 32 w 308"/>
                <a:gd name="T75" fmla="*/ 47 h 991"/>
                <a:gd name="T76" fmla="*/ 50 w 308"/>
                <a:gd name="T77" fmla="*/ 30 h 991"/>
                <a:gd name="T78" fmla="*/ 71 w 308"/>
                <a:gd name="T79" fmla="*/ 17 h 991"/>
                <a:gd name="T80" fmla="*/ 96 w 308"/>
                <a:gd name="T81" fmla="*/ 8 h 991"/>
                <a:gd name="T82" fmla="*/ 123 w 308"/>
                <a:gd name="T83" fmla="*/ 2 h 991"/>
                <a:gd name="T84" fmla="*/ 154 w 308"/>
                <a:gd name="T85" fmla="*/ 0 h 9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08" h="991">
                  <a:moveTo>
                    <a:pt x="154" y="0"/>
                  </a:moveTo>
                  <a:lnTo>
                    <a:pt x="186" y="2"/>
                  </a:lnTo>
                  <a:lnTo>
                    <a:pt x="213" y="8"/>
                  </a:lnTo>
                  <a:lnTo>
                    <a:pt x="238" y="17"/>
                  </a:lnTo>
                  <a:lnTo>
                    <a:pt x="259" y="30"/>
                  </a:lnTo>
                  <a:lnTo>
                    <a:pt x="277" y="47"/>
                  </a:lnTo>
                  <a:lnTo>
                    <a:pt x="291" y="67"/>
                  </a:lnTo>
                  <a:lnTo>
                    <a:pt x="301" y="91"/>
                  </a:lnTo>
                  <a:lnTo>
                    <a:pt x="306" y="119"/>
                  </a:lnTo>
                  <a:lnTo>
                    <a:pt x="308" y="150"/>
                  </a:lnTo>
                  <a:lnTo>
                    <a:pt x="308" y="375"/>
                  </a:lnTo>
                  <a:lnTo>
                    <a:pt x="307" y="405"/>
                  </a:lnTo>
                  <a:lnTo>
                    <a:pt x="304" y="435"/>
                  </a:lnTo>
                  <a:lnTo>
                    <a:pt x="301" y="466"/>
                  </a:lnTo>
                  <a:lnTo>
                    <a:pt x="240" y="920"/>
                  </a:lnTo>
                  <a:lnTo>
                    <a:pt x="236" y="942"/>
                  </a:lnTo>
                  <a:lnTo>
                    <a:pt x="229" y="959"/>
                  </a:lnTo>
                  <a:lnTo>
                    <a:pt x="219" y="972"/>
                  </a:lnTo>
                  <a:lnTo>
                    <a:pt x="207" y="981"/>
                  </a:lnTo>
                  <a:lnTo>
                    <a:pt x="192" y="987"/>
                  </a:lnTo>
                  <a:lnTo>
                    <a:pt x="174" y="990"/>
                  </a:lnTo>
                  <a:lnTo>
                    <a:pt x="154" y="991"/>
                  </a:lnTo>
                  <a:lnTo>
                    <a:pt x="135" y="990"/>
                  </a:lnTo>
                  <a:lnTo>
                    <a:pt x="117" y="987"/>
                  </a:lnTo>
                  <a:lnTo>
                    <a:pt x="102" y="981"/>
                  </a:lnTo>
                  <a:lnTo>
                    <a:pt x="90" y="972"/>
                  </a:lnTo>
                  <a:lnTo>
                    <a:pt x="80" y="959"/>
                  </a:lnTo>
                  <a:lnTo>
                    <a:pt x="73" y="942"/>
                  </a:lnTo>
                  <a:lnTo>
                    <a:pt x="69" y="920"/>
                  </a:lnTo>
                  <a:lnTo>
                    <a:pt x="8" y="466"/>
                  </a:lnTo>
                  <a:lnTo>
                    <a:pt x="5" y="435"/>
                  </a:lnTo>
                  <a:lnTo>
                    <a:pt x="2" y="405"/>
                  </a:lnTo>
                  <a:lnTo>
                    <a:pt x="0" y="375"/>
                  </a:lnTo>
                  <a:lnTo>
                    <a:pt x="0" y="150"/>
                  </a:lnTo>
                  <a:lnTo>
                    <a:pt x="3" y="119"/>
                  </a:lnTo>
                  <a:lnTo>
                    <a:pt x="8" y="91"/>
                  </a:lnTo>
                  <a:lnTo>
                    <a:pt x="18" y="67"/>
                  </a:lnTo>
                  <a:lnTo>
                    <a:pt x="32" y="47"/>
                  </a:lnTo>
                  <a:lnTo>
                    <a:pt x="50" y="30"/>
                  </a:lnTo>
                  <a:lnTo>
                    <a:pt x="71" y="17"/>
                  </a:lnTo>
                  <a:lnTo>
                    <a:pt x="96" y="8"/>
                  </a:lnTo>
                  <a:lnTo>
                    <a:pt x="123" y="2"/>
                  </a:lnTo>
                  <a:lnTo>
                    <a:pt x="15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 panose="020B0502020104020203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6" name="Freeform 173">
              <a:extLst>
                <a:ext uri="{FF2B5EF4-FFF2-40B4-BE49-F238E27FC236}">
                  <a16:creationId xmlns:a16="http://schemas.microsoft.com/office/drawing/2014/main" id="{58D8345B-40F5-50EC-4055-06120F5F7D7E}"/>
                </a:ext>
              </a:extLst>
            </p:cNvPr>
            <p:cNvSpPr>
              <a:spLocks/>
            </p:cNvSpPr>
            <p:nvPr/>
          </p:nvSpPr>
          <p:spPr bwMode="auto">
            <a:xfrm>
              <a:off x="785813" y="3225800"/>
              <a:ext cx="47625" cy="46038"/>
            </a:xfrm>
            <a:custGeom>
              <a:avLst/>
              <a:gdLst>
                <a:gd name="T0" fmla="*/ 160 w 321"/>
                <a:gd name="T1" fmla="*/ 0 h 319"/>
                <a:gd name="T2" fmla="*/ 193 w 321"/>
                <a:gd name="T3" fmla="*/ 4 h 319"/>
                <a:gd name="T4" fmla="*/ 222 w 321"/>
                <a:gd name="T5" fmla="*/ 14 h 319"/>
                <a:gd name="T6" fmla="*/ 250 w 321"/>
                <a:gd name="T7" fmla="*/ 28 h 319"/>
                <a:gd name="T8" fmla="*/ 274 w 321"/>
                <a:gd name="T9" fmla="*/ 47 h 319"/>
                <a:gd name="T10" fmla="*/ 294 w 321"/>
                <a:gd name="T11" fmla="*/ 71 h 319"/>
                <a:gd name="T12" fmla="*/ 308 w 321"/>
                <a:gd name="T13" fmla="*/ 98 h 319"/>
                <a:gd name="T14" fmla="*/ 318 w 321"/>
                <a:gd name="T15" fmla="*/ 128 h 319"/>
                <a:gd name="T16" fmla="*/ 321 w 321"/>
                <a:gd name="T17" fmla="*/ 159 h 319"/>
                <a:gd name="T18" fmla="*/ 318 w 321"/>
                <a:gd name="T19" fmla="*/ 192 h 319"/>
                <a:gd name="T20" fmla="*/ 308 w 321"/>
                <a:gd name="T21" fmla="*/ 222 h 319"/>
                <a:gd name="T22" fmla="*/ 294 w 321"/>
                <a:gd name="T23" fmla="*/ 249 h 319"/>
                <a:gd name="T24" fmla="*/ 274 w 321"/>
                <a:gd name="T25" fmla="*/ 272 h 319"/>
                <a:gd name="T26" fmla="*/ 250 w 321"/>
                <a:gd name="T27" fmla="*/ 291 h 319"/>
                <a:gd name="T28" fmla="*/ 222 w 321"/>
                <a:gd name="T29" fmla="*/ 306 h 319"/>
                <a:gd name="T30" fmla="*/ 193 w 321"/>
                <a:gd name="T31" fmla="*/ 315 h 319"/>
                <a:gd name="T32" fmla="*/ 160 w 321"/>
                <a:gd name="T33" fmla="*/ 319 h 319"/>
                <a:gd name="T34" fmla="*/ 128 w 321"/>
                <a:gd name="T35" fmla="*/ 315 h 319"/>
                <a:gd name="T36" fmla="*/ 99 w 321"/>
                <a:gd name="T37" fmla="*/ 306 h 319"/>
                <a:gd name="T38" fmla="*/ 71 w 321"/>
                <a:gd name="T39" fmla="*/ 291 h 319"/>
                <a:gd name="T40" fmla="*/ 47 w 321"/>
                <a:gd name="T41" fmla="*/ 272 h 319"/>
                <a:gd name="T42" fmla="*/ 27 w 321"/>
                <a:gd name="T43" fmla="*/ 249 h 319"/>
                <a:gd name="T44" fmla="*/ 13 w 321"/>
                <a:gd name="T45" fmla="*/ 222 h 319"/>
                <a:gd name="T46" fmla="*/ 3 w 321"/>
                <a:gd name="T47" fmla="*/ 192 h 319"/>
                <a:gd name="T48" fmla="*/ 0 w 321"/>
                <a:gd name="T49" fmla="*/ 159 h 319"/>
                <a:gd name="T50" fmla="*/ 3 w 321"/>
                <a:gd name="T51" fmla="*/ 128 h 319"/>
                <a:gd name="T52" fmla="*/ 13 w 321"/>
                <a:gd name="T53" fmla="*/ 98 h 319"/>
                <a:gd name="T54" fmla="*/ 27 w 321"/>
                <a:gd name="T55" fmla="*/ 71 h 319"/>
                <a:gd name="T56" fmla="*/ 47 w 321"/>
                <a:gd name="T57" fmla="*/ 47 h 319"/>
                <a:gd name="T58" fmla="*/ 71 w 321"/>
                <a:gd name="T59" fmla="*/ 28 h 319"/>
                <a:gd name="T60" fmla="*/ 99 w 321"/>
                <a:gd name="T61" fmla="*/ 14 h 319"/>
                <a:gd name="T62" fmla="*/ 128 w 321"/>
                <a:gd name="T63" fmla="*/ 4 h 319"/>
                <a:gd name="T64" fmla="*/ 160 w 321"/>
                <a:gd name="T65" fmla="*/ 0 h 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21" h="319">
                  <a:moveTo>
                    <a:pt x="160" y="0"/>
                  </a:moveTo>
                  <a:lnTo>
                    <a:pt x="193" y="4"/>
                  </a:lnTo>
                  <a:lnTo>
                    <a:pt x="222" y="14"/>
                  </a:lnTo>
                  <a:lnTo>
                    <a:pt x="250" y="28"/>
                  </a:lnTo>
                  <a:lnTo>
                    <a:pt x="274" y="47"/>
                  </a:lnTo>
                  <a:lnTo>
                    <a:pt x="294" y="71"/>
                  </a:lnTo>
                  <a:lnTo>
                    <a:pt x="308" y="98"/>
                  </a:lnTo>
                  <a:lnTo>
                    <a:pt x="318" y="128"/>
                  </a:lnTo>
                  <a:lnTo>
                    <a:pt x="321" y="159"/>
                  </a:lnTo>
                  <a:lnTo>
                    <a:pt x="318" y="192"/>
                  </a:lnTo>
                  <a:lnTo>
                    <a:pt x="308" y="222"/>
                  </a:lnTo>
                  <a:lnTo>
                    <a:pt x="294" y="249"/>
                  </a:lnTo>
                  <a:lnTo>
                    <a:pt x="274" y="272"/>
                  </a:lnTo>
                  <a:lnTo>
                    <a:pt x="250" y="291"/>
                  </a:lnTo>
                  <a:lnTo>
                    <a:pt x="222" y="306"/>
                  </a:lnTo>
                  <a:lnTo>
                    <a:pt x="193" y="315"/>
                  </a:lnTo>
                  <a:lnTo>
                    <a:pt x="160" y="319"/>
                  </a:lnTo>
                  <a:lnTo>
                    <a:pt x="128" y="315"/>
                  </a:lnTo>
                  <a:lnTo>
                    <a:pt x="99" y="306"/>
                  </a:lnTo>
                  <a:lnTo>
                    <a:pt x="71" y="291"/>
                  </a:lnTo>
                  <a:lnTo>
                    <a:pt x="47" y="272"/>
                  </a:lnTo>
                  <a:lnTo>
                    <a:pt x="27" y="249"/>
                  </a:lnTo>
                  <a:lnTo>
                    <a:pt x="13" y="222"/>
                  </a:lnTo>
                  <a:lnTo>
                    <a:pt x="3" y="192"/>
                  </a:lnTo>
                  <a:lnTo>
                    <a:pt x="0" y="159"/>
                  </a:lnTo>
                  <a:lnTo>
                    <a:pt x="3" y="128"/>
                  </a:lnTo>
                  <a:lnTo>
                    <a:pt x="13" y="98"/>
                  </a:lnTo>
                  <a:lnTo>
                    <a:pt x="27" y="71"/>
                  </a:lnTo>
                  <a:lnTo>
                    <a:pt x="47" y="47"/>
                  </a:lnTo>
                  <a:lnTo>
                    <a:pt x="71" y="28"/>
                  </a:lnTo>
                  <a:lnTo>
                    <a:pt x="99" y="14"/>
                  </a:lnTo>
                  <a:lnTo>
                    <a:pt x="128" y="4"/>
                  </a:lnTo>
                  <a:lnTo>
                    <a:pt x="16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 panose="020B0502020104020203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87" name="Group 186">
            <a:extLst>
              <a:ext uri="{FF2B5EF4-FFF2-40B4-BE49-F238E27FC236}">
                <a16:creationId xmlns:a16="http://schemas.microsoft.com/office/drawing/2014/main" id="{27A2A253-3BA6-8BCB-2027-19709B0C7C52}"/>
              </a:ext>
            </a:extLst>
          </p:cNvPr>
          <p:cNvGrpSpPr/>
          <p:nvPr/>
        </p:nvGrpSpPr>
        <p:grpSpPr>
          <a:xfrm>
            <a:off x="4078563" y="5090837"/>
            <a:ext cx="318856" cy="350274"/>
            <a:chOff x="592138" y="2925763"/>
            <a:chExt cx="434976" cy="477838"/>
          </a:xfrm>
          <a:solidFill>
            <a:sysClr val="window" lastClr="FFFFFF"/>
          </a:solidFill>
        </p:grpSpPr>
        <p:sp>
          <p:nvSpPr>
            <p:cNvPr id="188" name="Freeform 175">
              <a:extLst>
                <a:ext uri="{FF2B5EF4-FFF2-40B4-BE49-F238E27FC236}">
                  <a16:creationId xmlns:a16="http://schemas.microsoft.com/office/drawing/2014/main" id="{82711565-8199-8FC2-7C98-43ECF66C2B5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3576" y="2998788"/>
              <a:ext cx="292100" cy="404813"/>
            </a:xfrm>
            <a:custGeom>
              <a:avLst/>
              <a:gdLst>
                <a:gd name="T0" fmla="*/ 750 w 2029"/>
                <a:gd name="T1" fmla="*/ 299 h 2800"/>
                <a:gd name="T2" fmla="*/ 479 w 2029"/>
                <a:gd name="T3" fmla="*/ 466 h 2800"/>
                <a:gd name="T4" fmla="*/ 304 w 2029"/>
                <a:gd name="T5" fmla="*/ 723 h 2800"/>
                <a:gd name="T6" fmla="*/ 259 w 2029"/>
                <a:gd name="T7" fmla="*/ 1034 h 2800"/>
                <a:gd name="T8" fmla="*/ 314 w 2029"/>
                <a:gd name="T9" fmla="*/ 1283 h 2800"/>
                <a:gd name="T10" fmla="*/ 414 w 2029"/>
                <a:gd name="T11" fmla="*/ 1472 h 2800"/>
                <a:gd name="T12" fmla="*/ 530 w 2029"/>
                <a:gd name="T13" fmla="*/ 1646 h 2800"/>
                <a:gd name="T14" fmla="*/ 603 w 2029"/>
                <a:gd name="T15" fmla="*/ 1843 h 2800"/>
                <a:gd name="T16" fmla="*/ 647 w 2029"/>
                <a:gd name="T17" fmla="*/ 1978 h 2800"/>
                <a:gd name="T18" fmla="*/ 1346 w 2029"/>
                <a:gd name="T19" fmla="*/ 2011 h 2800"/>
                <a:gd name="T20" fmla="*/ 1421 w 2029"/>
                <a:gd name="T21" fmla="*/ 1912 h 2800"/>
                <a:gd name="T22" fmla="*/ 1460 w 2029"/>
                <a:gd name="T23" fmla="*/ 1721 h 2800"/>
                <a:gd name="T24" fmla="*/ 1570 w 2029"/>
                <a:gd name="T25" fmla="*/ 1538 h 2800"/>
                <a:gd name="T26" fmla="*/ 1678 w 2029"/>
                <a:gd name="T27" fmla="*/ 1364 h 2800"/>
                <a:gd name="T28" fmla="*/ 1756 w 2029"/>
                <a:gd name="T29" fmla="*/ 1143 h 2800"/>
                <a:gd name="T30" fmla="*/ 1760 w 2029"/>
                <a:gd name="T31" fmla="*/ 844 h 2800"/>
                <a:gd name="T32" fmla="*/ 1634 w 2029"/>
                <a:gd name="T33" fmla="*/ 559 h 2800"/>
                <a:gd name="T34" fmla="*/ 1397 w 2029"/>
                <a:gd name="T35" fmla="*/ 352 h 2800"/>
                <a:gd name="T36" fmla="*/ 1084 w 2029"/>
                <a:gd name="T37" fmla="*/ 258 h 2800"/>
                <a:gd name="T38" fmla="*/ 1258 w 2029"/>
                <a:gd name="T39" fmla="*/ 29 h 2800"/>
                <a:gd name="T40" fmla="*/ 1613 w 2029"/>
                <a:gd name="T41" fmla="*/ 188 h 2800"/>
                <a:gd name="T42" fmla="*/ 1877 w 2029"/>
                <a:gd name="T43" fmla="*/ 461 h 2800"/>
                <a:gd name="T44" fmla="*/ 2015 w 2029"/>
                <a:gd name="T45" fmla="*/ 815 h 2800"/>
                <a:gd name="T46" fmla="*/ 2013 w 2029"/>
                <a:gd name="T47" fmla="*/ 1166 h 2800"/>
                <a:gd name="T48" fmla="*/ 1934 w 2029"/>
                <a:gd name="T49" fmla="*/ 1424 h 2800"/>
                <a:gd name="T50" fmla="*/ 1825 w 2029"/>
                <a:gd name="T51" fmla="*/ 1617 h 2800"/>
                <a:gd name="T52" fmla="*/ 1714 w 2029"/>
                <a:gd name="T53" fmla="*/ 1785 h 2800"/>
                <a:gd name="T54" fmla="*/ 1677 w 2029"/>
                <a:gd name="T55" fmla="*/ 1934 h 2800"/>
                <a:gd name="T56" fmla="*/ 1572 w 2029"/>
                <a:gd name="T57" fmla="*/ 2150 h 2800"/>
                <a:gd name="T58" fmla="*/ 1487 w 2029"/>
                <a:gd name="T59" fmla="*/ 2294 h 2800"/>
                <a:gd name="T60" fmla="*/ 1480 w 2029"/>
                <a:gd name="T61" fmla="*/ 2429 h 2800"/>
                <a:gd name="T62" fmla="*/ 1476 w 2029"/>
                <a:gd name="T63" fmla="*/ 2492 h 2800"/>
                <a:gd name="T64" fmla="*/ 1446 w 2029"/>
                <a:gd name="T65" fmla="*/ 2575 h 2800"/>
                <a:gd name="T66" fmla="*/ 1340 w 2029"/>
                <a:gd name="T67" fmla="*/ 2666 h 2800"/>
                <a:gd name="T68" fmla="*/ 1184 w 2029"/>
                <a:gd name="T69" fmla="*/ 2779 h 2800"/>
                <a:gd name="T70" fmla="*/ 891 w 2029"/>
                <a:gd name="T71" fmla="*/ 2798 h 2800"/>
                <a:gd name="T72" fmla="*/ 762 w 2029"/>
                <a:gd name="T73" fmla="*/ 2698 h 2800"/>
                <a:gd name="T74" fmla="*/ 607 w 2029"/>
                <a:gd name="T75" fmla="*/ 2606 h 2800"/>
                <a:gd name="T76" fmla="*/ 556 w 2029"/>
                <a:gd name="T77" fmla="*/ 2509 h 2800"/>
                <a:gd name="T78" fmla="*/ 551 w 2029"/>
                <a:gd name="T79" fmla="*/ 2466 h 2800"/>
                <a:gd name="T80" fmla="*/ 545 w 2029"/>
                <a:gd name="T81" fmla="*/ 2350 h 2800"/>
                <a:gd name="T82" fmla="*/ 538 w 2029"/>
                <a:gd name="T83" fmla="*/ 2221 h 2800"/>
                <a:gd name="T84" fmla="*/ 376 w 2029"/>
                <a:gd name="T85" fmla="*/ 2025 h 2800"/>
                <a:gd name="T86" fmla="*/ 340 w 2029"/>
                <a:gd name="T87" fmla="*/ 1839 h 2800"/>
                <a:gd name="T88" fmla="*/ 248 w 2029"/>
                <a:gd name="T89" fmla="*/ 1682 h 2800"/>
                <a:gd name="T90" fmla="*/ 138 w 2029"/>
                <a:gd name="T91" fmla="*/ 1508 h 2800"/>
                <a:gd name="T92" fmla="*/ 41 w 2029"/>
                <a:gd name="T93" fmla="*/ 1278 h 2800"/>
                <a:gd name="T94" fmla="*/ 0 w 2029"/>
                <a:gd name="T95" fmla="*/ 973 h 2800"/>
                <a:gd name="T96" fmla="*/ 80 w 2029"/>
                <a:gd name="T97" fmla="*/ 595 h 2800"/>
                <a:gd name="T98" fmla="*/ 298 w 2029"/>
                <a:gd name="T99" fmla="*/ 286 h 2800"/>
                <a:gd name="T100" fmla="*/ 621 w 2029"/>
                <a:gd name="T101" fmla="*/ 77 h 2800"/>
                <a:gd name="T102" fmla="*/ 1014 w 2029"/>
                <a:gd name="T103" fmla="*/ 0 h 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029" h="2800">
                  <a:moveTo>
                    <a:pt x="1014" y="255"/>
                  </a:moveTo>
                  <a:lnTo>
                    <a:pt x="945" y="258"/>
                  </a:lnTo>
                  <a:lnTo>
                    <a:pt x="878" y="266"/>
                  </a:lnTo>
                  <a:lnTo>
                    <a:pt x="813" y="281"/>
                  </a:lnTo>
                  <a:lnTo>
                    <a:pt x="750" y="299"/>
                  </a:lnTo>
                  <a:lnTo>
                    <a:pt x="690" y="324"/>
                  </a:lnTo>
                  <a:lnTo>
                    <a:pt x="632" y="354"/>
                  </a:lnTo>
                  <a:lnTo>
                    <a:pt x="578" y="387"/>
                  </a:lnTo>
                  <a:lnTo>
                    <a:pt x="527" y="424"/>
                  </a:lnTo>
                  <a:lnTo>
                    <a:pt x="479" y="466"/>
                  </a:lnTo>
                  <a:lnTo>
                    <a:pt x="435" y="511"/>
                  </a:lnTo>
                  <a:lnTo>
                    <a:pt x="396" y="559"/>
                  </a:lnTo>
                  <a:lnTo>
                    <a:pt x="361" y="611"/>
                  </a:lnTo>
                  <a:lnTo>
                    <a:pt x="330" y="666"/>
                  </a:lnTo>
                  <a:lnTo>
                    <a:pt x="304" y="723"/>
                  </a:lnTo>
                  <a:lnTo>
                    <a:pt x="284" y="783"/>
                  </a:lnTo>
                  <a:lnTo>
                    <a:pt x="270" y="844"/>
                  </a:lnTo>
                  <a:lnTo>
                    <a:pt x="260" y="908"/>
                  </a:lnTo>
                  <a:lnTo>
                    <a:pt x="257" y="973"/>
                  </a:lnTo>
                  <a:lnTo>
                    <a:pt x="259" y="1034"/>
                  </a:lnTo>
                  <a:lnTo>
                    <a:pt x="264" y="1090"/>
                  </a:lnTo>
                  <a:lnTo>
                    <a:pt x="273" y="1143"/>
                  </a:lnTo>
                  <a:lnTo>
                    <a:pt x="284" y="1193"/>
                  </a:lnTo>
                  <a:lnTo>
                    <a:pt x="298" y="1240"/>
                  </a:lnTo>
                  <a:lnTo>
                    <a:pt x="314" y="1283"/>
                  </a:lnTo>
                  <a:lnTo>
                    <a:pt x="331" y="1325"/>
                  </a:lnTo>
                  <a:lnTo>
                    <a:pt x="351" y="1364"/>
                  </a:lnTo>
                  <a:lnTo>
                    <a:pt x="371" y="1402"/>
                  </a:lnTo>
                  <a:lnTo>
                    <a:pt x="393" y="1437"/>
                  </a:lnTo>
                  <a:lnTo>
                    <a:pt x="414" y="1472"/>
                  </a:lnTo>
                  <a:lnTo>
                    <a:pt x="437" y="1505"/>
                  </a:lnTo>
                  <a:lnTo>
                    <a:pt x="458" y="1537"/>
                  </a:lnTo>
                  <a:lnTo>
                    <a:pt x="483" y="1573"/>
                  </a:lnTo>
                  <a:lnTo>
                    <a:pt x="507" y="1610"/>
                  </a:lnTo>
                  <a:lnTo>
                    <a:pt x="530" y="1646"/>
                  </a:lnTo>
                  <a:lnTo>
                    <a:pt x="551" y="1683"/>
                  </a:lnTo>
                  <a:lnTo>
                    <a:pt x="569" y="1721"/>
                  </a:lnTo>
                  <a:lnTo>
                    <a:pt x="584" y="1760"/>
                  </a:lnTo>
                  <a:lnTo>
                    <a:pt x="595" y="1800"/>
                  </a:lnTo>
                  <a:lnTo>
                    <a:pt x="603" y="1843"/>
                  </a:lnTo>
                  <a:lnTo>
                    <a:pt x="605" y="1888"/>
                  </a:lnTo>
                  <a:lnTo>
                    <a:pt x="608" y="1912"/>
                  </a:lnTo>
                  <a:lnTo>
                    <a:pt x="617" y="1936"/>
                  </a:lnTo>
                  <a:lnTo>
                    <a:pt x="630" y="1958"/>
                  </a:lnTo>
                  <a:lnTo>
                    <a:pt x="647" y="1978"/>
                  </a:lnTo>
                  <a:lnTo>
                    <a:pt x="665" y="1996"/>
                  </a:lnTo>
                  <a:lnTo>
                    <a:pt x="683" y="2011"/>
                  </a:lnTo>
                  <a:lnTo>
                    <a:pt x="701" y="2025"/>
                  </a:lnTo>
                  <a:lnTo>
                    <a:pt x="1328" y="2025"/>
                  </a:lnTo>
                  <a:lnTo>
                    <a:pt x="1346" y="2011"/>
                  </a:lnTo>
                  <a:lnTo>
                    <a:pt x="1364" y="1996"/>
                  </a:lnTo>
                  <a:lnTo>
                    <a:pt x="1383" y="1978"/>
                  </a:lnTo>
                  <a:lnTo>
                    <a:pt x="1399" y="1958"/>
                  </a:lnTo>
                  <a:lnTo>
                    <a:pt x="1412" y="1936"/>
                  </a:lnTo>
                  <a:lnTo>
                    <a:pt x="1421" y="1912"/>
                  </a:lnTo>
                  <a:lnTo>
                    <a:pt x="1424" y="1888"/>
                  </a:lnTo>
                  <a:lnTo>
                    <a:pt x="1426" y="1843"/>
                  </a:lnTo>
                  <a:lnTo>
                    <a:pt x="1434" y="1800"/>
                  </a:lnTo>
                  <a:lnTo>
                    <a:pt x="1445" y="1760"/>
                  </a:lnTo>
                  <a:lnTo>
                    <a:pt x="1460" y="1721"/>
                  </a:lnTo>
                  <a:lnTo>
                    <a:pt x="1478" y="1684"/>
                  </a:lnTo>
                  <a:lnTo>
                    <a:pt x="1498" y="1646"/>
                  </a:lnTo>
                  <a:lnTo>
                    <a:pt x="1520" y="1610"/>
                  </a:lnTo>
                  <a:lnTo>
                    <a:pt x="1545" y="1574"/>
                  </a:lnTo>
                  <a:lnTo>
                    <a:pt x="1570" y="1538"/>
                  </a:lnTo>
                  <a:lnTo>
                    <a:pt x="1592" y="1506"/>
                  </a:lnTo>
                  <a:lnTo>
                    <a:pt x="1614" y="1473"/>
                  </a:lnTo>
                  <a:lnTo>
                    <a:pt x="1636" y="1438"/>
                  </a:lnTo>
                  <a:lnTo>
                    <a:pt x="1658" y="1402"/>
                  </a:lnTo>
                  <a:lnTo>
                    <a:pt x="1678" y="1364"/>
                  </a:lnTo>
                  <a:lnTo>
                    <a:pt x="1698" y="1325"/>
                  </a:lnTo>
                  <a:lnTo>
                    <a:pt x="1715" y="1283"/>
                  </a:lnTo>
                  <a:lnTo>
                    <a:pt x="1731" y="1240"/>
                  </a:lnTo>
                  <a:lnTo>
                    <a:pt x="1745" y="1193"/>
                  </a:lnTo>
                  <a:lnTo>
                    <a:pt x="1756" y="1143"/>
                  </a:lnTo>
                  <a:lnTo>
                    <a:pt x="1765" y="1090"/>
                  </a:lnTo>
                  <a:lnTo>
                    <a:pt x="1770" y="1034"/>
                  </a:lnTo>
                  <a:lnTo>
                    <a:pt x="1772" y="973"/>
                  </a:lnTo>
                  <a:lnTo>
                    <a:pt x="1769" y="908"/>
                  </a:lnTo>
                  <a:lnTo>
                    <a:pt x="1760" y="844"/>
                  </a:lnTo>
                  <a:lnTo>
                    <a:pt x="1745" y="782"/>
                  </a:lnTo>
                  <a:lnTo>
                    <a:pt x="1725" y="723"/>
                  </a:lnTo>
                  <a:lnTo>
                    <a:pt x="1700" y="666"/>
                  </a:lnTo>
                  <a:lnTo>
                    <a:pt x="1668" y="610"/>
                  </a:lnTo>
                  <a:lnTo>
                    <a:pt x="1634" y="559"/>
                  </a:lnTo>
                  <a:lnTo>
                    <a:pt x="1594" y="511"/>
                  </a:lnTo>
                  <a:lnTo>
                    <a:pt x="1550" y="466"/>
                  </a:lnTo>
                  <a:lnTo>
                    <a:pt x="1503" y="424"/>
                  </a:lnTo>
                  <a:lnTo>
                    <a:pt x="1451" y="386"/>
                  </a:lnTo>
                  <a:lnTo>
                    <a:pt x="1397" y="352"/>
                  </a:lnTo>
                  <a:lnTo>
                    <a:pt x="1339" y="324"/>
                  </a:lnTo>
                  <a:lnTo>
                    <a:pt x="1278" y="299"/>
                  </a:lnTo>
                  <a:lnTo>
                    <a:pt x="1216" y="281"/>
                  </a:lnTo>
                  <a:lnTo>
                    <a:pt x="1151" y="266"/>
                  </a:lnTo>
                  <a:lnTo>
                    <a:pt x="1084" y="258"/>
                  </a:lnTo>
                  <a:lnTo>
                    <a:pt x="1014" y="255"/>
                  </a:lnTo>
                  <a:close/>
                  <a:moveTo>
                    <a:pt x="1014" y="0"/>
                  </a:moveTo>
                  <a:lnTo>
                    <a:pt x="1097" y="3"/>
                  </a:lnTo>
                  <a:lnTo>
                    <a:pt x="1179" y="13"/>
                  </a:lnTo>
                  <a:lnTo>
                    <a:pt x="1258" y="29"/>
                  </a:lnTo>
                  <a:lnTo>
                    <a:pt x="1335" y="50"/>
                  </a:lnTo>
                  <a:lnTo>
                    <a:pt x="1408" y="77"/>
                  </a:lnTo>
                  <a:lnTo>
                    <a:pt x="1480" y="109"/>
                  </a:lnTo>
                  <a:lnTo>
                    <a:pt x="1548" y="147"/>
                  </a:lnTo>
                  <a:lnTo>
                    <a:pt x="1613" y="188"/>
                  </a:lnTo>
                  <a:lnTo>
                    <a:pt x="1673" y="235"/>
                  </a:lnTo>
                  <a:lnTo>
                    <a:pt x="1731" y="286"/>
                  </a:lnTo>
                  <a:lnTo>
                    <a:pt x="1783" y="340"/>
                  </a:lnTo>
                  <a:lnTo>
                    <a:pt x="1833" y="399"/>
                  </a:lnTo>
                  <a:lnTo>
                    <a:pt x="1877" y="461"/>
                  </a:lnTo>
                  <a:lnTo>
                    <a:pt x="1915" y="526"/>
                  </a:lnTo>
                  <a:lnTo>
                    <a:pt x="1949" y="595"/>
                  </a:lnTo>
                  <a:lnTo>
                    <a:pt x="1976" y="667"/>
                  </a:lnTo>
                  <a:lnTo>
                    <a:pt x="1999" y="739"/>
                  </a:lnTo>
                  <a:lnTo>
                    <a:pt x="2015" y="815"/>
                  </a:lnTo>
                  <a:lnTo>
                    <a:pt x="2025" y="893"/>
                  </a:lnTo>
                  <a:lnTo>
                    <a:pt x="2029" y="973"/>
                  </a:lnTo>
                  <a:lnTo>
                    <a:pt x="2026" y="1041"/>
                  </a:lnTo>
                  <a:lnTo>
                    <a:pt x="2021" y="1105"/>
                  </a:lnTo>
                  <a:lnTo>
                    <a:pt x="2013" y="1166"/>
                  </a:lnTo>
                  <a:lnTo>
                    <a:pt x="2001" y="1224"/>
                  </a:lnTo>
                  <a:lnTo>
                    <a:pt x="1988" y="1278"/>
                  </a:lnTo>
                  <a:lnTo>
                    <a:pt x="1972" y="1329"/>
                  </a:lnTo>
                  <a:lnTo>
                    <a:pt x="1953" y="1378"/>
                  </a:lnTo>
                  <a:lnTo>
                    <a:pt x="1934" y="1424"/>
                  </a:lnTo>
                  <a:lnTo>
                    <a:pt x="1913" y="1466"/>
                  </a:lnTo>
                  <a:lnTo>
                    <a:pt x="1892" y="1507"/>
                  </a:lnTo>
                  <a:lnTo>
                    <a:pt x="1869" y="1546"/>
                  </a:lnTo>
                  <a:lnTo>
                    <a:pt x="1847" y="1583"/>
                  </a:lnTo>
                  <a:lnTo>
                    <a:pt x="1825" y="1617"/>
                  </a:lnTo>
                  <a:lnTo>
                    <a:pt x="1803" y="1649"/>
                  </a:lnTo>
                  <a:lnTo>
                    <a:pt x="1781" y="1681"/>
                  </a:lnTo>
                  <a:lnTo>
                    <a:pt x="1756" y="1719"/>
                  </a:lnTo>
                  <a:lnTo>
                    <a:pt x="1733" y="1753"/>
                  </a:lnTo>
                  <a:lnTo>
                    <a:pt x="1714" y="1785"/>
                  </a:lnTo>
                  <a:lnTo>
                    <a:pt x="1700" y="1813"/>
                  </a:lnTo>
                  <a:lnTo>
                    <a:pt x="1689" y="1839"/>
                  </a:lnTo>
                  <a:lnTo>
                    <a:pt x="1682" y="1864"/>
                  </a:lnTo>
                  <a:lnTo>
                    <a:pt x="1680" y="1888"/>
                  </a:lnTo>
                  <a:lnTo>
                    <a:pt x="1677" y="1934"/>
                  </a:lnTo>
                  <a:lnTo>
                    <a:pt x="1667" y="1980"/>
                  </a:lnTo>
                  <a:lnTo>
                    <a:pt x="1652" y="2025"/>
                  </a:lnTo>
                  <a:lnTo>
                    <a:pt x="1630" y="2068"/>
                  </a:lnTo>
                  <a:lnTo>
                    <a:pt x="1604" y="2110"/>
                  </a:lnTo>
                  <a:lnTo>
                    <a:pt x="1572" y="2150"/>
                  </a:lnTo>
                  <a:lnTo>
                    <a:pt x="1534" y="2187"/>
                  </a:lnTo>
                  <a:lnTo>
                    <a:pt x="1491" y="2221"/>
                  </a:lnTo>
                  <a:lnTo>
                    <a:pt x="1490" y="2242"/>
                  </a:lnTo>
                  <a:lnTo>
                    <a:pt x="1489" y="2267"/>
                  </a:lnTo>
                  <a:lnTo>
                    <a:pt x="1487" y="2294"/>
                  </a:lnTo>
                  <a:lnTo>
                    <a:pt x="1486" y="2322"/>
                  </a:lnTo>
                  <a:lnTo>
                    <a:pt x="1484" y="2350"/>
                  </a:lnTo>
                  <a:lnTo>
                    <a:pt x="1483" y="2378"/>
                  </a:lnTo>
                  <a:lnTo>
                    <a:pt x="1481" y="2405"/>
                  </a:lnTo>
                  <a:lnTo>
                    <a:pt x="1480" y="2429"/>
                  </a:lnTo>
                  <a:lnTo>
                    <a:pt x="1479" y="2449"/>
                  </a:lnTo>
                  <a:lnTo>
                    <a:pt x="1478" y="2466"/>
                  </a:lnTo>
                  <a:lnTo>
                    <a:pt x="1478" y="2476"/>
                  </a:lnTo>
                  <a:lnTo>
                    <a:pt x="1476" y="2479"/>
                  </a:lnTo>
                  <a:lnTo>
                    <a:pt x="1476" y="2492"/>
                  </a:lnTo>
                  <a:lnTo>
                    <a:pt x="1474" y="2506"/>
                  </a:lnTo>
                  <a:lnTo>
                    <a:pt x="1470" y="2522"/>
                  </a:lnTo>
                  <a:lnTo>
                    <a:pt x="1465" y="2539"/>
                  </a:lnTo>
                  <a:lnTo>
                    <a:pt x="1457" y="2557"/>
                  </a:lnTo>
                  <a:lnTo>
                    <a:pt x="1446" y="2575"/>
                  </a:lnTo>
                  <a:lnTo>
                    <a:pt x="1432" y="2594"/>
                  </a:lnTo>
                  <a:lnTo>
                    <a:pt x="1416" y="2613"/>
                  </a:lnTo>
                  <a:lnTo>
                    <a:pt x="1395" y="2631"/>
                  </a:lnTo>
                  <a:lnTo>
                    <a:pt x="1370" y="2650"/>
                  </a:lnTo>
                  <a:lnTo>
                    <a:pt x="1340" y="2666"/>
                  </a:lnTo>
                  <a:lnTo>
                    <a:pt x="1307" y="2683"/>
                  </a:lnTo>
                  <a:lnTo>
                    <a:pt x="1267" y="2698"/>
                  </a:lnTo>
                  <a:lnTo>
                    <a:pt x="1244" y="2727"/>
                  </a:lnTo>
                  <a:lnTo>
                    <a:pt x="1216" y="2754"/>
                  </a:lnTo>
                  <a:lnTo>
                    <a:pt x="1184" y="2779"/>
                  </a:lnTo>
                  <a:lnTo>
                    <a:pt x="1162" y="2790"/>
                  </a:lnTo>
                  <a:lnTo>
                    <a:pt x="1138" y="2798"/>
                  </a:lnTo>
                  <a:lnTo>
                    <a:pt x="1113" y="2800"/>
                  </a:lnTo>
                  <a:lnTo>
                    <a:pt x="916" y="2800"/>
                  </a:lnTo>
                  <a:lnTo>
                    <a:pt x="891" y="2798"/>
                  </a:lnTo>
                  <a:lnTo>
                    <a:pt x="867" y="2790"/>
                  </a:lnTo>
                  <a:lnTo>
                    <a:pt x="845" y="2779"/>
                  </a:lnTo>
                  <a:lnTo>
                    <a:pt x="813" y="2754"/>
                  </a:lnTo>
                  <a:lnTo>
                    <a:pt x="785" y="2727"/>
                  </a:lnTo>
                  <a:lnTo>
                    <a:pt x="762" y="2698"/>
                  </a:lnTo>
                  <a:lnTo>
                    <a:pt x="720" y="2681"/>
                  </a:lnTo>
                  <a:lnTo>
                    <a:pt x="684" y="2664"/>
                  </a:lnTo>
                  <a:lnTo>
                    <a:pt x="653" y="2646"/>
                  </a:lnTo>
                  <a:lnTo>
                    <a:pt x="628" y="2626"/>
                  </a:lnTo>
                  <a:lnTo>
                    <a:pt x="607" y="2606"/>
                  </a:lnTo>
                  <a:lnTo>
                    <a:pt x="590" y="2585"/>
                  </a:lnTo>
                  <a:lnTo>
                    <a:pt x="578" y="2566"/>
                  </a:lnTo>
                  <a:lnTo>
                    <a:pt x="567" y="2546"/>
                  </a:lnTo>
                  <a:lnTo>
                    <a:pt x="561" y="2527"/>
                  </a:lnTo>
                  <a:lnTo>
                    <a:pt x="556" y="2509"/>
                  </a:lnTo>
                  <a:lnTo>
                    <a:pt x="554" y="2494"/>
                  </a:lnTo>
                  <a:lnTo>
                    <a:pt x="552" y="2479"/>
                  </a:lnTo>
                  <a:lnTo>
                    <a:pt x="552" y="2479"/>
                  </a:lnTo>
                  <a:lnTo>
                    <a:pt x="552" y="2476"/>
                  </a:lnTo>
                  <a:lnTo>
                    <a:pt x="551" y="2466"/>
                  </a:lnTo>
                  <a:lnTo>
                    <a:pt x="550" y="2449"/>
                  </a:lnTo>
                  <a:lnTo>
                    <a:pt x="549" y="2429"/>
                  </a:lnTo>
                  <a:lnTo>
                    <a:pt x="548" y="2405"/>
                  </a:lnTo>
                  <a:lnTo>
                    <a:pt x="546" y="2378"/>
                  </a:lnTo>
                  <a:lnTo>
                    <a:pt x="545" y="2350"/>
                  </a:lnTo>
                  <a:lnTo>
                    <a:pt x="543" y="2322"/>
                  </a:lnTo>
                  <a:lnTo>
                    <a:pt x="542" y="2294"/>
                  </a:lnTo>
                  <a:lnTo>
                    <a:pt x="540" y="2267"/>
                  </a:lnTo>
                  <a:lnTo>
                    <a:pt x="539" y="2242"/>
                  </a:lnTo>
                  <a:lnTo>
                    <a:pt x="538" y="2221"/>
                  </a:lnTo>
                  <a:lnTo>
                    <a:pt x="495" y="2187"/>
                  </a:lnTo>
                  <a:lnTo>
                    <a:pt x="457" y="2150"/>
                  </a:lnTo>
                  <a:lnTo>
                    <a:pt x="425" y="2110"/>
                  </a:lnTo>
                  <a:lnTo>
                    <a:pt x="398" y="2068"/>
                  </a:lnTo>
                  <a:lnTo>
                    <a:pt x="376" y="2025"/>
                  </a:lnTo>
                  <a:lnTo>
                    <a:pt x="362" y="1980"/>
                  </a:lnTo>
                  <a:lnTo>
                    <a:pt x="352" y="1934"/>
                  </a:lnTo>
                  <a:lnTo>
                    <a:pt x="349" y="1888"/>
                  </a:lnTo>
                  <a:lnTo>
                    <a:pt x="347" y="1864"/>
                  </a:lnTo>
                  <a:lnTo>
                    <a:pt x="340" y="1839"/>
                  </a:lnTo>
                  <a:lnTo>
                    <a:pt x="329" y="1813"/>
                  </a:lnTo>
                  <a:lnTo>
                    <a:pt x="315" y="1785"/>
                  </a:lnTo>
                  <a:lnTo>
                    <a:pt x="296" y="1753"/>
                  </a:lnTo>
                  <a:lnTo>
                    <a:pt x="274" y="1719"/>
                  </a:lnTo>
                  <a:lnTo>
                    <a:pt x="248" y="1682"/>
                  </a:lnTo>
                  <a:lnTo>
                    <a:pt x="227" y="1650"/>
                  </a:lnTo>
                  <a:lnTo>
                    <a:pt x="205" y="1617"/>
                  </a:lnTo>
                  <a:lnTo>
                    <a:pt x="182" y="1583"/>
                  </a:lnTo>
                  <a:lnTo>
                    <a:pt x="160" y="1546"/>
                  </a:lnTo>
                  <a:lnTo>
                    <a:pt x="138" y="1508"/>
                  </a:lnTo>
                  <a:lnTo>
                    <a:pt x="116" y="1466"/>
                  </a:lnTo>
                  <a:lnTo>
                    <a:pt x="95" y="1424"/>
                  </a:lnTo>
                  <a:lnTo>
                    <a:pt x="76" y="1378"/>
                  </a:lnTo>
                  <a:lnTo>
                    <a:pt x="57" y="1329"/>
                  </a:lnTo>
                  <a:lnTo>
                    <a:pt x="41" y="1278"/>
                  </a:lnTo>
                  <a:lnTo>
                    <a:pt x="28" y="1224"/>
                  </a:lnTo>
                  <a:lnTo>
                    <a:pt x="16" y="1166"/>
                  </a:lnTo>
                  <a:lnTo>
                    <a:pt x="8" y="1105"/>
                  </a:lnTo>
                  <a:lnTo>
                    <a:pt x="2" y="1041"/>
                  </a:lnTo>
                  <a:lnTo>
                    <a:pt x="0" y="973"/>
                  </a:lnTo>
                  <a:lnTo>
                    <a:pt x="4" y="893"/>
                  </a:lnTo>
                  <a:lnTo>
                    <a:pt x="14" y="815"/>
                  </a:lnTo>
                  <a:lnTo>
                    <a:pt x="30" y="739"/>
                  </a:lnTo>
                  <a:lnTo>
                    <a:pt x="53" y="667"/>
                  </a:lnTo>
                  <a:lnTo>
                    <a:pt x="80" y="595"/>
                  </a:lnTo>
                  <a:lnTo>
                    <a:pt x="114" y="526"/>
                  </a:lnTo>
                  <a:lnTo>
                    <a:pt x="152" y="461"/>
                  </a:lnTo>
                  <a:lnTo>
                    <a:pt x="196" y="399"/>
                  </a:lnTo>
                  <a:lnTo>
                    <a:pt x="246" y="340"/>
                  </a:lnTo>
                  <a:lnTo>
                    <a:pt x="298" y="286"/>
                  </a:lnTo>
                  <a:lnTo>
                    <a:pt x="356" y="235"/>
                  </a:lnTo>
                  <a:lnTo>
                    <a:pt x="416" y="188"/>
                  </a:lnTo>
                  <a:lnTo>
                    <a:pt x="481" y="147"/>
                  </a:lnTo>
                  <a:lnTo>
                    <a:pt x="549" y="109"/>
                  </a:lnTo>
                  <a:lnTo>
                    <a:pt x="621" y="77"/>
                  </a:lnTo>
                  <a:lnTo>
                    <a:pt x="695" y="50"/>
                  </a:lnTo>
                  <a:lnTo>
                    <a:pt x="771" y="29"/>
                  </a:lnTo>
                  <a:lnTo>
                    <a:pt x="850" y="13"/>
                  </a:lnTo>
                  <a:lnTo>
                    <a:pt x="932" y="3"/>
                  </a:lnTo>
                  <a:lnTo>
                    <a:pt x="101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 panose="020B0502020104020203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9" name="Freeform 176">
              <a:extLst>
                <a:ext uri="{FF2B5EF4-FFF2-40B4-BE49-F238E27FC236}">
                  <a16:creationId xmlns:a16="http://schemas.microsoft.com/office/drawing/2014/main" id="{5FC9329C-5BD6-7AE2-ACD9-5C8A3390A1BE}"/>
                </a:ext>
              </a:extLst>
            </p:cNvPr>
            <p:cNvSpPr>
              <a:spLocks/>
            </p:cNvSpPr>
            <p:nvPr/>
          </p:nvSpPr>
          <p:spPr bwMode="auto">
            <a:xfrm>
              <a:off x="800101" y="2925763"/>
              <a:ext cx="19050" cy="46038"/>
            </a:xfrm>
            <a:custGeom>
              <a:avLst/>
              <a:gdLst>
                <a:gd name="T0" fmla="*/ 63 w 127"/>
                <a:gd name="T1" fmla="*/ 0 h 318"/>
                <a:gd name="T2" fmla="*/ 63 w 127"/>
                <a:gd name="T3" fmla="*/ 0 h 318"/>
                <a:gd name="T4" fmla="*/ 80 w 127"/>
                <a:gd name="T5" fmla="*/ 2 h 318"/>
                <a:gd name="T6" fmla="*/ 96 w 127"/>
                <a:gd name="T7" fmla="*/ 9 h 318"/>
                <a:gd name="T8" fmla="*/ 109 w 127"/>
                <a:gd name="T9" fmla="*/ 19 h 318"/>
                <a:gd name="T10" fmla="*/ 119 w 127"/>
                <a:gd name="T11" fmla="*/ 32 h 318"/>
                <a:gd name="T12" fmla="*/ 125 w 127"/>
                <a:gd name="T13" fmla="*/ 47 h 318"/>
                <a:gd name="T14" fmla="*/ 127 w 127"/>
                <a:gd name="T15" fmla="*/ 64 h 318"/>
                <a:gd name="T16" fmla="*/ 127 w 127"/>
                <a:gd name="T17" fmla="*/ 254 h 318"/>
                <a:gd name="T18" fmla="*/ 125 w 127"/>
                <a:gd name="T19" fmla="*/ 272 h 318"/>
                <a:gd name="T20" fmla="*/ 119 w 127"/>
                <a:gd name="T21" fmla="*/ 286 h 318"/>
                <a:gd name="T22" fmla="*/ 109 w 127"/>
                <a:gd name="T23" fmla="*/ 300 h 318"/>
                <a:gd name="T24" fmla="*/ 96 w 127"/>
                <a:gd name="T25" fmla="*/ 309 h 318"/>
                <a:gd name="T26" fmla="*/ 80 w 127"/>
                <a:gd name="T27" fmla="*/ 315 h 318"/>
                <a:gd name="T28" fmla="*/ 63 w 127"/>
                <a:gd name="T29" fmla="*/ 318 h 318"/>
                <a:gd name="T30" fmla="*/ 47 w 127"/>
                <a:gd name="T31" fmla="*/ 315 h 318"/>
                <a:gd name="T32" fmla="*/ 31 w 127"/>
                <a:gd name="T33" fmla="*/ 309 h 318"/>
                <a:gd name="T34" fmla="*/ 18 w 127"/>
                <a:gd name="T35" fmla="*/ 300 h 318"/>
                <a:gd name="T36" fmla="*/ 8 w 127"/>
                <a:gd name="T37" fmla="*/ 286 h 318"/>
                <a:gd name="T38" fmla="*/ 2 w 127"/>
                <a:gd name="T39" fmla="*/ 272 h 318"/>
                <a:gd name="T40" fmla="*/ 0 w 127"/>
                <a:gd name="T41" fmla="*/ 254 h 318"/>
                <a:gd name="T42" fmla="*/ 0 w 127"/>
                <a:gd name="T43" fmla="*/ 64 h 318"/>
                <a:gd name="T44" fmla="*/ 2 w 127"/>
                <a:gd name="T45" fmla="*/ 47 h 318"/>
                <a:gd name="T46" fmla="*/ 8 w 127"/>
                <a:gd name="T47" fmla="*/ 32 h 318"/>
                <a:gd name="T48" fmla="*/ 18 w 127"/>
                <a:gd name="T49" fmla="*/ 19 h 318"/>
                <a:gd name="T50" fmla="*/ 31 w 127"/>
                <a:gd name="T51" fmla="*/ 9 h 318"/>
                <a:gd name="T52" fmla="*/ 47 w 127"/>
                <a:gd name="T53" fmla="*/ 2 h 318"/>
                <a:gd name="T54" fmla="*/ 63 w 127"/>
                <a:gd name="T55" fmla="*/ 0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27" h="318">
                  <a:moveTo>
                    <a:pt x="63" y="0"/>
                  </a:moveTo>
                  <a:lnTo>
                    <a:pt x="63" y="0"/>
                  </a:lnTo>
                  <a:lnTo>
                    <a:pt x="80" y="2"/>
                  </a:lnTo>
                  <a:lnTo>
                    <a:pt x="96" y="9"/>
                  </a:lnTo>
                  <a:lnTo>
                    <a:pt x="109" y="19"/>
                  </a:lnTo>
                  <a:lnTo>
                    <a:pt x="119" y="32"/>
                  </a:lnTo>
                  <a:lnTo>
                    <a:pt x="125" y="47"/>
                  </a:lnTo>
                  <a:lnTo>
                    <a:pt x="127" y="64"/>
                  </a:lnTo>
                  <a:lnTo>
                    <a:pt x="127" y="254"/>
                  </a:lnTo>
                  <a:lnTo>
                    <a:pt x="125" y="272"/>
                  </a:lnTo>
                  <a:lnTo>
                    <a:pt x="119" y="286"/>
                  </a:lnTo>
                  <a:lnTo>
                    <a:pt x="109" y="300"/>
                  </a:lnTo>
                  <a:lnTo>
                    <a:pt x="96" y="309"/>
                  </a:lnTo>
                  <a:lnTo>
                    <a:pt x="80" y="315"/>
                  </a:lnTo>
                  <a:lnTo>
                    <a:pt x="63" y="318"/>
                  </a:lnTo>
                  <a:lnTo>
                    <a:pt x="47" y="315"/>
                  </a:lnTo>
                  <a:lnTo>
                    <a:pt x="31" y="309"/>
                  </a:lnTo>
                  <a:lnTo>
                    <a:pt x="18" y="300"/>
                  </a:lnTo>
                  <a:lnTo>
                    <a:pt x="8" y="286"/>
                  </a:lnTo>
                  <a:lnTo>
                    <a:pt x="2" y="272"/>
                  </a:lnTo>
                  <a:lnTo>
                    <a:pt x="0" y="254"/>
                  </a:lnTo>
                  <a:lnTo>
                    <a:pt x="0" y="64"/>
                  </a:lnTo>
                  <a:lnTo>
                    <a:pt x="2" y="47"/>
                  </a:lnTo>
                  <a:lnTo>
                    <a:pt x="8" y="32"/>
                  </a:lnTo>
                  <a:lnTo>
                    <a:pt x="18" y="19"/>
                  </a:lnTo>
                  <a:lnTo>
                    <a:pt x="31" y="9"/>
                  </a:lnTo>
                  <a:lnTo>
                    <a:pt x="47" y="2"/>
                  </a:lnTo>
                  <a:lnTo>
                    <a:pt x="6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 panose="020B0502020104020203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0" name="Freeform 177">
              <a:extLst>
                <a:ext uri="{FF2B5EF4-FFF2-40B4-BE49-F238E27FC236}">
                  <a16:creationId xmlns:a16="http://schemas.microsoft.com/office/drawing/2014/main" id="{5C31AD3E-FBEE-1E85-AA8F-9315B310CEE8}"/>
                </a:ext>
              </a:extLst>
            </p:cNvPr>
            <p:cNvSpPr>
              <a:spLocks/>
            </p:cNvSpPr>
            <p:nvPr/>
          </p:nvSpPr>
          <p:spPr bwMode="auto">
            <a:xfrm>
              <a:off x="696913" y="2954338"/>
              <a:ext cx="31750" cy="41275"/>
            </a:xfrm>
            <a:custGeom>
              <a:avLst/>
              <a:gdLst>
                <a:gd name="T0" fmla="*/ 64 w 224"/>
                <a:gd name="T1" fmla="*/ 0 h 293"/>
                <a:gd name="T2" fmla="*/ 80 w 224"/>
                <a:gd name="T3" fmla="*/ 2 h 293"/>
                <a:gd name="T4" fmla="*/ 95 w 224"/>
                <a:gd name="T5" fmla="*/ 8 h 293"/>
                <a:gd name="T6" fmla="*/ 109 w 224"/>
                <a:gd name="T7" fmla="*/ 18 h 293"/>
                <a:gd name="T8" fmla="*/ 119 w 224"/>
                <a:gd name="T9" fmla="*/ 32 h 293"/>
                <a:gd name="T10" fmla="*/ 216 w 224"/>
                <a:gd name="T11" fmla="*/ 197 h 293"/>
                <a:gd name="T12" fmla="*/ 222 w 224"/>
                <a:gd name="T13" fmla="*/ 213 h 293"/>
                <a:gd name="T14" fmla="*/ 224 w 224"/>
                <a:gd name="T15" fmla="*/ 230 h 293"/>
                <a:gd name="T16" fmla="*/ 222 w 224"/>
                <a:gd name="T17" fmla="*/ 245 h 293"/>
                <a:gd name="T18" fmla="*/ 216 w 224"/>
                <a:gd name="T19" fmla="*/ 261 h 293"/>
                <a:gd name="T20" fmla="*/ 206 w 224"/>
                <a:gd name="T21" fmla="*/ 274 h 293"/>
                <a:gd name="T22" fmla="*/ 193 w 224"/>
                <a:gd name="T23" fmla="*/ 285 h 293"/>
                <a:gd name="T24" fmla="*/ 177 w 224"/>
                <a:gd name="T25" fmla="*/ 291 h 293"/>
                <a:gd name="T26" fmla="*/ 160 w 224"/>
                <a:gd name="T27" fmla="*/ 293 h 293"/>
                <a:gd name="T28" fmla="*/ 143 w 224"/>
                <a:gd name="T29" fmla="*/ 291 h 293"/>
                <a:gd name="T30" fmla="*/ 129 w 224"/>
                <a:gd name="T31" fmla="*/ 285 h 293"/>
                <a:gd name="T32" fmla="*/ 115 w 224"/>
                <a:gd name="T33" fmla="*/ 274 h 293"/>
                <a:gd name="T34" fmla="*/ 105 w 224"/>
                <a:gd name="T35" fmla="*/ 261 h 293"/>
                <a:gd name="T36" fmla="*/ 8 w 224"/>
                <a:gd name="T37" fmla="*/ 95 h 293"/>
                <a:gd name="T38" fmla="*/ 2 w 224"/>
                <a:gd name="T39" fmla="*/ 80 h 293"/>
                <a:gd name="T40" fmla="*/ 0 w 224"/>
                <a:gd name="T41" fmla="*/ 63 h 293"/>
                <a:gd name="T42" fmla="*/ 2 w 224"/>
                <a:gd name="T43" fmla="*/ 48 h 293"/>
                <a:gd name="T44" fmla="*/ 8 w 224"/>
                <a:gd name="T45" fmla="*/ 32 h 293"/>
                <a:gd name="T46" fmla="*/ 19 w 224"/>
                <a:gd name="T47" fmla="*/ 19 h 293"/>
                <a:gd name="T48" fmla="*/ 31 w 224"/>
                <a:gd name="T49" fmla="*/ 9 h 293"/>
                <a:gd name="T50" fmla="*/ 48 w 224"/>
                <a:gd name="T51" fmla="*/ 2 h 293"/>
                <a:gd name="T52" fmla="*/ 64 w 224"/>
                <a:gd name="T53" fmla="*/ 0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24" h="293">
                  <a:moveTo>
                    <a:pt x="64" y="0"/>
                  </a:moveTo>
                  <a:lnTo>
                    <a:pt x="80" y="2"/>
                  </a:lnTo>
                  <a:lnTo>
                    <a:pt x="95" y="8"/>
                  </a:lnTo>
                  <a:lnTo>
                    <a:pt x="109" y="18"/>
                  </a:lnTo>
                  <a:lnTo>
                    <a:pt x="119" y="32"/>
                  </a:lnTo>
                  <a:lnTo>
                    <a:pt x="216" y="197"/>
                  </a:lnTo>
                  <a:lnTo>
                    <a:pt x="222" y="213"/>
                  </a:lnTo>
                  <a:lnTo>
                    <a:pt x="224" y="230"/>
                  </a:lnTo>
                  <a:lnTo>
                    <a:pt x="222" y="245"/>
                  </a:lnTo>
                  <a:lnTo>
                    <a:pt x="216" y="261"/>
                  </a:lnTo>
                  <a:lnTo>
                    <a:pt x="206" y="274"/>
                  </a:lnTo>
                  <a:lnTo>
                    <a:pt x="193" y="285"/>
                  </a:lnTo>
                  <a:lnTo>
                    <a:pt x="177" y="291"/>
                  </a:lnTo>
                  <a:lnTo>
                    <a:pt x="160" y="293"/>
                  </a:lnTo>
                  <a:lnTo>
                    <a:pt x="143" y="291"/>
                  </a:lnTo>
                  <a:lnTo>
                    <a:pt x="129" y="285"/>
                  </a:lnTo>
                  <a:lnTo>
                    <a:pt x="115" y="274"/>
                  </a:lnTo>
                  <a:lnTo>
                    <a:pt x="105" y="261"/>
                  </a:lnTo>
                  <a:lnTo>
                    <a:pt x="8" y="95"/>
                  </a:lnTo>
                  <a:lnTo>
                    <a:pt x="2" y="80"/>
                  </a:lnTo>
                  <a:lnTo>
                    <a:pt x="0" y="63"/>
                  </a:lnTo>
                  <a:lnTo>
                    <a:pt x="2" y="48"/>
                  </a:lnTo>
                  <a:lnTo>
                    <a:pt x="8" y="32"/>
                  </a:lnTo>
                  <a:lnTo>
                    <a:pt x="19" y="19"/>
                  </a:lnTo>
                  <a:lnTo>
                    <a:pt x="31" y="9"/>
                  </a:lnTo>
                  <a:lnTo>
                    <a:pt x="48" y="2"/>
                  </a:lnTo>
                  <a:lnTo>
                    <a:pt x="6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 panose="020B0502020104020203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1" name="Freeform 178">
              <a:extLst>
                <a:ext uri="{FF2B5EF4-FFF2-40B4-BE49-F238E27FC236}">
                  <a16:creationId xmlns:a16="http://schemas.microsoft.com/office/drawing/2014/main" id="{0CA285F2-520C-CA47-888B-36C0B52A89FA}"/>
                </a:ext>
              </a:extLst>
            </p:cNvPr>
            <p:cNvSpPr>
              <a:spLocks/>
            </p:cNvSpPr>
            <p:nvPr/>
          </p:nvSpPr>
          <p:spPr bwMode="auto">
            <a:xfrm>
              <a:off x="620713" y="3028950"/>
              <a:ext cx="41275" cy="33338"/>
            </a:xfrm>
            <a:custGeom>
              <a:avLst/>
              <a:gdLst>
                <a:gd name="T0" fmla="*/ 64 w 294"/>
                <a:gd name="T1" fmla="*/ 0 h 222"/>
                <a:gd name="T2" fmla="*/ 79 w 294"/>
                <a:gd name="T3" fmla="*/ 2 h 222"/>
                <a:gd name="T4" fmla="*/ 96 w 294"/>
                <a:gd name="T5" fmla="*/ 8 h 222"/>
                <a:gd name="T6" fmla="*/ 263 w 294"/>
                <a:gd name="T7" fmla="*/ 103 h 222"/>
                <a:gd name="T8" fmla="*/ 276 w 294"/>
                <a:gd name="T9" fmla="*/ 114 h 222"/>
                <a:gd name="T10" fmla="*/ 286 w 294"/>
                <a:gd name="T11" fmla="*/ 127 h 222"/>
                <a:gd name="T12" fmla="*/ 292 w 294"/>
                <a:gd name="T13" fmla="*/ 142 h 222"/>
                <a:gd name="T14" fmla="*/ 294 w 294"/>
                <a:gd name="T15" fmla="*/ 158 h 222"/>
                <a:gd name="T16" fmla="*/ 292 w 294"/>
                <a:gd name="T17" fmla="*/ 175 h 222"/>
                <a:gd name="T18" fmla="*/ 286 w 294"/>
                <a:gd name="T19" fmla="*/ 190 h 222"/>
                <a:gd name="T20" fmla="*/ 275 w 294"/>
                <a:gd name="T21" fmla="*/ 204 h 222"/>
                <a:gd name="T22" fmla="*/ 262 w 294"/>
                <a:gd name="T23" fmla="*/ 214 h 222"/>
                <a:gd name="T24" fmla="*/ 246 w 294"/>
                <a:gd name="T25" fmla="*/ 220 h 222"/>
                <a:gd name="T26" fmla="*/ 230 w 294"/>
                <a:gd name="T27" fmla="*/ 222 h 222"/>
                <a:gd name="T28" fmla="*/ 213 w 294"/>
                <a:gd name="T29" fmla="*/ 220 h 222"/>
                <a:gd name="T30" fmla="*/ 198 w 294"/>
                <a:gd name="T31" fmla="*/ 213 h 222"/>
                <a:gd name="T32" fmla="*/ 31 w 294"/>
                <a:gd name="T33" fmla="*/ 118 h 222"/>
                <a:gd name="T34" fmla="*/ 18 w 294"/>
                <a:gd name="T35" fmla="*/ 108 h 222"/>
                <a:gd name="T36" fmla="*/ 8 w 294"/>
                <a:gd name="T37" fmla="*/ 95 h 222"/>
                <a:gd name="T38" fmla="*/ 2 w 294"/>
                <a:gd name="T39" fmla="*/ 80 h 222"/>
                <a:gd name="T40" fmla="*/ 0 w 294"/>
                <a:gd name="T41" fmla="*/ 63 h 222"/>
                <a:gd name="T42" fmla="*/ 2 w 294"/>
                <a:gd name="T43" fmla="*/ 47 h 222"/>
                <a:gd name="T44" fmla="*/ 8 w 294"/>
                <a:gd name="T45" fmla="*/ 31 h 222"/>
                <a:gd name="T46" fmla="*/ 19 w 294"/>
                <a:gd name="T47" fmla="*/ 18 h 222"/>
                <a:gd name="T48" fmla="*/ 32 w 294"/>
                <a:gd name="T49" fmla="*/ 8 h 222"/>
                <a:gd name="T50" fmla="*/ 47 w 294"/>
                <a:gd name="T51" fmla="*/ 2 h 222"/>
                <a:gd name="T52" fmla="*/ 64 w 294"/>
                <a:gd name="T53" fmla="*/ 0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94" h="222">
                  <a:moveTo>
                    <a:pt x="64" y="0"/>
                  </a:moveTo>
                  <a:lnTo>
                    <a:pt x="79" y="2"/>
                  </a:lnTo>
                  <a:lnTo>
                    <a:pt x="96" y="8"/>
                  </a:lnTo>
                  <a:lnTo>
                    <a:pt x="263" y="103"/>
                  </a:lnTo>
                  <a:lnTo>
                    <a:pt x="276" y="114"/>
                  </a:lnTo>
                  <a:lnTo>
                    <a:pt x="286" y="127"/>
                  </a:lnTo>
                  <a:lnTo>
                    <a:pt x="292" y="142"/>
                  </a:lnTo>
                  <a:lnTo>
                    <a:pt x="294" y="158"/>
                  </a:lnTo>
                  <a:lnTo>
                    <a:pt x="292" y="175"/>
                  </a:lnTo>
                  <a:lnTo>
                    <a:pt x="286" y="190"/>
                  </a:lnTo>
                  <a:lnTo>
                    <a:pt x="275" y="204"/>
                  </a:lnTo>
                  <a:lnTo>
                    <a:pt x="262" y="214"/>
                  </a:lnTo>
                  <a:lnTo>
                    <a:pt x="246" y="220"/>
                  </a:lnTo>
                  <a:lnTo>
                    <a:pt x="230" y="222"/>
                  </a:lnTo>
                  <a:lnTo>
                    <a:pt x="213" y="220"/>
                  </a:lnTo>
                  <a:lnTo>
                    <a:pt x="198" y="213"/>
                  </a:lnTo>
                  <a:lnTo>
                    <a:pt x="31" y="118"/>
                  </a:lnTo>
                  <a:lnTo>
                    <a:pt x="18" y="108"/>
                  </a:lnTo>
                  <a:lnTo>
                    <a:pt x="8" y="95"/>
                  </a:lnTo>
                  <a:lnTo>
                    <a:pt x="2" y="80"/>
                  </a:lnTo>
                  <a:lnTo>
                    <a:pt x="0" y="63"/>
                  </a:lnTo>
                  <a:lnTo>
                    <a:pt x="2" y="47"/>
                  </a:lnTo>
                  <a:lnTo>
                    <a:pt x="8" y="31"/>
                  </a:lnTo>
                  <a:lnTo>
                    <a:pt x="19" y="18"/>
                  </a:lnTo>
                  <a:lnTo>
                    <a:pt x="32" y="8"/>
                  </a:lnTo>
                  <a:lnTo>
                    <a:pt x="47" y="2"/>
                  </a:lnTo>
                  <a:lnTo>
                    <a:pt x="6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 panose="020B0502020104020203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2" name="Freeform 179">
              <a:extLst>
                <a:ext uri="{FF2B5EF4-FFF2-40B4-BE49-F238E27FC236}">
                  <a16:creationId xmlns:a16="http://schemas.microsoft.com/office/drawing/2014/main" id="{E57E442D-D3B9-C187-2D6C-54B5D336E8A0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138" y="3132138"/>
              <a:ext cx="46038" cy="19050"/>
            </a:xfrm>
            <a:custGeom>
              <a:avLst/>
              <a:gdLst>
                <a:gd name="T0" fmla="*/ 64 w 321"/>
                <a:gd name="T1" fmla="*/ 0 h 128"/>
                <a:gd name="T2" fmla="*/ 257 w 321"/>
                <a:gd name="T3" fmla="*/ 0 h 128"/>
                <a:gd name="T4" fmla="*/ 273 w 321"/>
                <a:gd name="T5" fmla="*/ 4 h 128"/>
                <a:gd name="T6" fmla="*/ 289 w 321"/>
                <a:gd name="T7" fmla="*/ 10 h 128"/>
                <a:gd name="T8" fmla="*/ 302 w 321"/>
                <a:gd name="T9" fmla="*/ 19 h 128"/>
                <a:gd name="T10" fmla="*/ 312 w 321"/>
                <a:gd name="T11" fmla="*/ 33 h 128"/>
                <a:gd name="T12" fmla="*/ 318 w 321"/>
                <a:gd name="T13" fmla="*/ 47 h 128"/>
                <a:gd name="T14" fmla="*/ 321 w 321"/>
                <a:gd name="T15" fmla="*/ 65 h 128"/>
                <a:gd name="T16" fmla="*/ 318 w 321"/>
                <a:gd name="T17" fmla="*/ 82 h 128"/>
                <a:gd name="T18" fmla="*/ 312 w 321"/>
                <a:gd name="T19" fmla="*/ 96 h 128"/>
                <a:gd name="T20" fmla="*/ 302 w 321"/>
                <a:gd name="T21" fmla="*/ 110 h 128"/>
                <a:gd name="T22" fmla="*/ 289 w 321"/>
                <a:gd name="T23" fmla="*/ 119 h 128"/>
                <a:gd name="T24" fmla="*/ 273 w 321"/>
                <a:gd name="T25" fmla="*/ 126 h 128"/>
                <a:gd name="T26" fmla="*/ 257 w 321"/>
                <a:gd name="T27" fmla="*/ 128 h 128"/>
                <a:gd name="T28" fmla="*/ 64 w 321"/>
                <a:gd name="T29" fmla="*/ 128 h 128"/>
                <a:gd name="T30" fmla="*/ 47 w 321"/>
                <a:gd name="T31" fmla="*/ 126 h 128"/>
                <a:gd name="T32" fmla="*/ 32 w 321"/>
                <a:gd name="T33" fmla="*/ 119 h 128"/>
                <a:gd name="T34" fmla="*/ 19 w 321"/>
                <a:gd name="T35" fmla="*/ 110 h 128"/>
                <a:gd name="T36" fmla="*/ 9 w 321"/>
                <a:gd name="T37" fmla="*/ 96 h 128"/>
                <a:gd name="T38" fmla="*/ 2 w 321"/>
                <a:gd name="T39" fmla="*/ 82 h 128"/>
                <a:gd name="T40" fmla="*/ 0 w 321"/>
                <a:gd name="T41" fmla="*/ 65 h 128"/>
                <a:gd name="T42" fmla="*/ 2 w 321"/>
                <a:gd name="T43" fmla="*/ 47 h 128"/>
                <a:gd name="T44" fmla="*/ 9 w 321"/>
                <a:gd name="T45" fmla="*/ 33 h 128"/>
                <a:gd name="T46" fmla="*/ 19 w 321"/>
                <a:gd name="T47" fmla="*/ 19 h 128"/>
                <a:gd name="T48" fmla="*/ 32 w 321"/>
                <a:gd name="T49" fmla="*/ 10 h 128"/>
                <a:gd name="T50" fmla="*/ 47 w 321"/>
                <a:gd name="T51" fmla="*/ 4 h 128"/>
                <a:gd name="T52" fmla="*/ 64 w 321"/>
                <a:gd name="T53" fmla="*/ 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21" h="128">
                  <a:moveTo>
                    <a:pt x="64" y="0"/>
                  </a:moveTo>
                  <a:lnTo>
                    <a:pt x="257" y="0"/>
                  </a:lnTo>
                  <a:lnTo>
                    <a:pt x="273" y="4"/>
                  </a:lnTo>
                  <a:lnTo>
                    <a:pt x="289" y="10"/>
                  </a:lnTo>
                  <a:lnTo>
                    <a:pt x="302" y="19"/>
                  </a:lnTo>
                  <a:lnTo>
                    <a:pt x="312" y="33"/>
                  </a:lnTo>
                  <a:lnTo>
                    <a:pt x="318" y="47"/>
                  </a:lnTo>
                  <a:lnTo>
                    <a:pt x="321" y="65"/>
                  </a:lnTo>
                  <a:lnTo>
                    <a:pt x="318" y="82"/>
                  </a:lnTo>
                  <a:lnTo>
                    <a:pt x="312" y="96"/>
                  </a:lnTo>
                  <a:lnTo>
                    <a:pt x="302" y="110"/>
                  </a:lnTo>
                  <a:lnTo>
                    <a:pt x="289" y="119"/>
                  </a:lnTo>
                  <a:lnTo>
                    <a:pt x="273" y="126"/>
                  </a:lnTo>
                  <a:lnTo>
                    <a:pt x="257" y="128"/>
                  </a:lnTo>
                  <a:lnTo>
                    <a:pt x="64" y="128"/>
                  </a:lnTo>
                  <a:lnTo>
                    <a:pt x="47" y="126"/>
                  </a:lnTo>
                  <a:lnTo>
                    <a:pt x="32" y="119"/>
                  </a:lnTo>
                  <a:lnTo>
                    <a:pt x="19" y="110"/>
                  </a:lnTo>
                  <a:lnTo>
                    <a:pt x="9" y="96"/>
                  </a:lnTo>
                  <a:lnTo>
                    <a:pt x="2" y="82"/>
                  </a:lnTo>
                  <a:lnTo>
                    <a:pt x="0" y="65"/>
                  </a:lnTo>
                  <a:lnTo>
                    <a:pt x="2" y="47"/>
                  </a:lnTo>
                  <a:lnTo>
                    <a:pt x="9" y="33"/>
                  </a:lnTo>
                  <a:lnTo>
                    <a:pt x="19" y="19"/>
                  </a:lnTo>
                  <a:lnTo>
                    <a:pt x="32" y="10"/>
                  </a:lnTo>
                  <a:lnTo>
                    <a:pt x="47" y="4"/>
                  </a:lnTo>
                  <a:lnTo>
                    <a:pt x="6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 panose="020B0502020104020203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3" name="Freeform 180">
              <a:extLst>
                <a:ext uri="{FF2B5EF4-FFF2-40B4-BE49-F238E27FC236}">
                  <a16:creationId xmlns:a16="http://schemas.microsoft.com/office/drawing/2014/main" id="{9F6F9743-8F8C-41FC-09C0-BAA2927AE622}"/>
                </a:ext>
              </a:extLst>
            </p:cNvPr>
            <p:cNvSpPr>
              <a:spLocks/>
            </p:cNvSpPr>
            <p:nvPr/>
          </p:nvSpPr>
          <p:spPr bwMode="auto">
            <a:xfrm>
              <a:off x="620713" y="3222625"/>
              <a:ext cx="41275" cy="31750"/>
            </a:xfrm>
            <a:custGeom>
              <a:avLst/>
              <a:gdLst>
                <a:gd name="T0" fmla="*/ 230 w 294"/>
                <a:gd name="T1" fmla="*/ 0 h 224"/>
                <a:gd name="T2" fmla="*/ 247 w 294"/>
                <a:gd name="T3" fmla="*/ 3 h 224"/>
                <a:gd name="T4" fmla="*/ 262 w 294"/>
                <a:gd name="T5" fmla="*/ 9 h 224"/>
                <a:gd name="T6" fmla="*/ 275 w 294"/>
                <a:gd name="T7" fmla="*/ 19 h 224"/>
                <a:gd name="T8" fmla="*/ 286 w 294"/>
                <a:gd name="T9" fmla="*/ 33 h 224"/>
                <a:gd name="T10" fmla="*/ 292 w 294"/>
                <a:gd name="T11" fmla="*/ 48 h 224"/>
                <a:gd name="T12" fmla="*/ 294 w 294"/>
                <a:gd name="T13" fmla="*/ 65 h 224"/>
                <a:gd name="T14" fmla="*/ 292 w 294"/>
                <a:gd name="T15" fmla="*/ 80 h 224"/>
                <a:gd name="T16" fmla="*/ 286 w 294"/>
                <a:gd name="T17" fmla="*/ 96 h 224"/>
                <a:gd name="T18" fmla="*/ 275 w 294"/>
                <a:gd name="T19" fmla="*/ 110 h 224"/>
                <a:gd name="T20" fmla="*/ 263 w 294"/>
                <a:gd name="T21" fmla="*/ 120 h 224"/>
                <a:gd name="T22" fmla="*/ 96 w 294"/>
                <a:gd name="T23" fmla="*/ 215 h 224"/>
                <a:gd name="T24" fmla="*/ 80 w 294"/>
                <a:gd name="T25" fmla="*/ 221 h 224"/>
                <a:gd name="T26" fmla="*/ 64 w 294"/>
                <a:gd name="T27" fmla="*/ 224 h 224"/>
                <a:gd name="T28" fmla="*/ 47 w 294"/>
                <a:gd name="T29" fmla="*/ 221 h 224"/>
                <a:gd name="T30" fmla="*/ 32 w 294"/>
                <a:gd name="T31" fmla="*/ 216 h 224"/>
                <a:gd name="T32" fmla="*/ 19 w 294"/>
                <a:gd name="T33" fmla="*/ 205 h 224"/>
                <a:gd name="T34" fmla="*/ 8 w 294"/>
                <a:gd name="T35" fmla="*/ 192 h 224"/>
                <a:gd name="T36" fmla="*/ 2 w 294"/>
                <a:gd name="T37" fmla="*/ 176 h 224"/>
                <a:gd name="T38" fmla="*/ 0 w 294"/>
                <a:gd name="T39" fmla="*/ 159 h 224"/>
                <a:gd name="T40" fmla="*/ 2 w 294"/>
                <a:gd name="T41" fmla="*/ 144 h 224"/>
                <a:gd name="T42" fmla="*/ 8 w 294"/>
                <a:gd name="T43" fmla="*/ 128 h 224"/>
                <a:gd name="T44" fmla="*/ 18 w 294"/>
                <a:gd name="T45" fmla="*/ 116 h 224"/>
                <a:gd name="T46" fmla="*/ 31 w 294"/>
                <a:gd name="T47" fmla="*/ 105 h 224"/>
                <a:gd name="T48" fmla="*/ 198 w 294"/>
                <a:gd name="T49" fmla="*/ 10 h 224"/>
                <a:gd name="T50" fmla="*/ 215 w 294"/>
                <a:gd name="T51" fmla="*/ 2 h 224"/>
                <a:gd name="T52" fmla="*/ 230 w 294"/>
                <a:gd name="T53" fmla="*/ 0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94" h="224">
                  <a:moveTo>
                    <a:pt x="230" y="0"/>
                  </a:moveTo>
                  <a:lnTo>
                    <a:pt x="247" y="3"/>
                  </a:lnTo>
                  <a:lnTo>
                    <a:pt x="262" y="9"/>
                  </a:lnTo>
                  <a:lnTo>
                    <a:pt x="275" y="19"/>
                  </a:lnTo>
                  <a:lnTo>
                    <a:pt x="286" y="33"/>
                  </a:lnTo>
                  <a:lnTo>
                    <a:pt x="292" y="48"/>
                  </a:lnTo>
                  <a:lnTo>
                    <a:pt x="294" y="65"/>
                  </a:lnTo>
                  <a:lnTo>
                    <a:pt x="292" y="80"/>
                  </a:lnTo>
                  <a:lnTo>
                    <a:pt x="286" y="96"/>
                  </a:lnTo>
                  <a:lnTo>
                    <a:pt x="275" y="110"/>
                  </a:lnTo>
                  <a:lnTo>
                    <a:pt x="263" y="120"/>
                  </a:lnTo>
                  <a:lnTo>
                    <a:pt x="96" y="215"/>
                  </a:lnTo>
                  <a:lnTo>
                    <a:pt x="80" y="221"/>
                  </a:lnTo>
                  <a:lnTo>
                    <a:pt x="64" y="224"/>
                  </a:lnTo>
                  <a:lnTo>
                    <a:pt x="47" y="221"/>
                  </a:lnTo>
                  <a:lnTo>
                    <a:pt x="32" y="216"/>
                  </a:lnTo>
                  <a:lnTo>
                    <a:pt x="19" y="205"/>
                  </a:lnTo>
                  <a:lnTo>
                    <a:pt x="8" y="192"/>
                  </a:lnTo>
                  <a:lnTo>
                    <a:pt x="2" y="176"/>
                  </a:lnTo>
                  <a:lnTo>
                    <a:pt x="0" y="159"/>
                  </a:lnTo>
                  <a:lnTo>
                    <a:pt x="2" y="144"/>
                  </a:lnTo>
                  <a:lnTo>
                    <a:pt x="8" y="128"/>
                  </a:lnTo>
                  <a:lnTo>
                    <a:pt x="18" y="116"/>
                  </a:lnTo>
                  <a:lnTo>
                    <a:pt x="31" y="105"/>
                  </a:lnTo>
                  <a:lnTo>
                    <a:pt x="198" y="10"/>
                  </a:lnTo>
                  <a:lnTo>
                    <a:pt x="215" y="2"/>
                  </a:lnTo>
                  <a:lnTo>
                    <a:pt x="23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 panose="020B0502020104020203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4" name="Freeform 181">
              <a:extLst>
                <a:ext uri="{FF2B5EF4-FFF2-40B4-BE49-F238E27FC236}">
                  <a16:creationId xmlns:a16="http://schemas.microsoft.com/office/drawing/2014/main" id="{5CB606BD-5CCC-B8D3-20A7-D7D7DEC03A2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263" y="3222625"/>
              <a:ext cx="41275" cy="31750"/>
            </a:xfrm>
            <a:custGeom>
              <a:avLst/>
              <a:gdLst>
                <a:gd name="T0" fmla="*/ 64 w 294"/>
                <a:gd name="T1" fmla="*/ 0 h 224"/>
                <a:gd name="T2" fmla="*/ 80 w 294"/>
                <a:gd name="T3" fmla="*/ 2 h 224"/>
                <a:gd name="T4" fmla="*/ 96 w 294"/>
                <a:gd name="T5" fmla="*/ 10 h 224"/>
                <a:gd name="T6" fmla="*/ 263 w 294"/>
                <a:gd name="T7" fmla="*/ 105 h 224"/>
                <a:gd name="T8" fmla="*/ 276 w 294"/>
                <a:gd name="T9" fmla="*/ 116 h 224"/>
                <a:gd name="T10" fmla="*/ 286 w 294"/>
                <a:gd name="T11" fmla="*/ 128 h 224"/>
                <a:gd name="T12" fmla="*/ 292 w 294"/>
                <a:gd name="T13" fmla="*/ 144 h 224"/>
                <a:gd name="T14" fmla="*/ 294 w 294"/>
                <a:gd name="T15" fmla="*/ 159 h 224"/>
                <a:gd name="T16" fmla="*/ 292 w 294"/>
                <a:gd name="T17" fmla="*/ 176 h 224"/>
                <a:gd name="T18" fmla="*/ 286 w 294"/>
                <a:gd name="T19" fmla="*/ 192 h 224"/>
                <a:gd name="T20" fmla="*/ 275 w 294"/>
                <a:gd name="T21" fmla="*/ 205 h 224"/>
                <a:gd name="T22" fmla="*/ 262 w 294"/>
                <a:gd name="T23" fmla="*/ 216 h 224"/>
                <a:gd name="T24" fmla="*/ 247 w 294"/>
                <a:gd name="T25" fmla="*/ 221 h 224"/>
                <a:gd name="T26" fmla="*/ 230 w 294"/>
                <a:gd name="T27" fmla="*/ 224 h 224"/>
                <a:gd name="T28" fmla="*/ 214 w 294"/>
                <a:gd name="T29" fmla="*/ 221 h 224"/>
                <a:gd name="T30" fmla="*/ 198 w 294"/>
                <a:gd name="T31" fmla="*/ 215 h 224"/>
                <a:gd name="T32" fmla="*/ 31 w 294"/>
                <a:gd name="T33" fmla="*/ 120 h 224"/>
                <a:gd name="T34" fmla="*/ 19 w 294"/>
                <a:gd name="T35" fmla="*/ 110 h 224"/>
                <a:gd name="T36" fmla="*/ 8 w 294"/>
                <a:gd name="T37" fmla="*/ 96 h 224"/>
                <a:gd name="T38" fmla="*/ 2 w 294"/>
                <a:gd name="T39" fmla="*/ 80 h 224"/>
                <a:gd name="T40" fmla="*/ 0 w 294"/>
                <a:gd name="T41" fmla="*/ 65 h 224"/>
                <a:gd name="T42" fmla="*/ 2 w 294"/>
                <a:gd name="T43" fmla="*/ 48 h 224"/>
                <a:gd name="T44" fmla="*/ 8 w 294"/>
                <a:gd name="T45" fmla="*/ 33 h 224"/>
                <a:gd name="T46" fmla="*/ 19 w 294"/>
                <a:gd name="T47" fmla="*/ 19 h 224"/>
                <a:gd name="T48" fmla="*/ 32 w 294"/>
                <a:gd name="T49" fmla="*/ 9 h 224"/>
                <a:gd name="T50" fmla="*/ 47 w 294"/>
                <a:gd name="T51" fmla="*/ 3 h 224"/>
                <a:gd name="T52" fmla="*/ 64 w 294"/>
                <a:gd name="T53" fmla="*/ 0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94" h="224">
                  <a:moveTo>
                    <a:pt x="64" y="0"/>
                  </a:moveTo>
                  <a:lnTo>
                    <a:pt x="80" y="2"/>
                  </a:lnTo>
                  <a:lnTo>
                    <a:pt x="96" y="10"/>
                  </a:lnTo>
                  <a:lnTo>
                    <a:pt x="263" y="105"/>
                  </a:lnTo>
                  <a:lnTo>
                    <a:pt x="276" y="116"/>
                  </a:lnTo>
                  <a:lnTo>
                    <a:pt x="286" y="128"/>
                  </a:lnTo>
                  <a:lnTo>
                    <a:pt x="292" y="144"/>
                  </a:lnTo>
                  <a:lnTo>
                    <a:pt x="294" y="159"/>
                  </a:lnTo>
                  <a:lnTo>
                    <a:pt x="292" y="176"/>
                  </a:lnTo>
                  <a:lnTo>
                    <a:pt x="286" y="192"/>
                  </a:lnTo>
                  <a:lnTo>
                    <a:pt x="275" y="205"/>
                  </a:lnTo>
                  <a:lnTo>
                    <a:pt x="262" y="216"/>
                  </a:lnTo>
                  <a:lnTo>
                    <a:pt x="247" y="221"/>
                  </a:lnTo>
                  <a:lnTo>
                    <a:pt x="230" y="224"/>
                  </a:lnTo>
                  <a:lnTo>
                    <a:pt x="214" y="221"/>
                  </a:lnTo>
                  <a:lnTo>
                    <a:pt x="198" y="215"/>
                  </a:lnTo>
                  <a:lnTo>
                    <a:pt x="31" y="120"/>
                  </a:lnTo>
                  <a:lnTo>
                    <a:pt x="19" y="110"/>
                  </a:lnTo>
                  <a:lnTo>
                    <a:pt x="8" y="96"/>
                  </a:lnTo>
                  <a:lnTo>
                    <a:pt x="2" y="80"/>
                  </a:lnTo>
                  <a:lnTo>
                    <a:pt x="0" y="65"/>
                  </a:lnTo>
                  <a:lnTo>
                    <a:pt x="2" y="48"/>
                  </a:lnTo>
                  <a:lnTo>
                    <a:pt x="8" y="33"/>
                  </a:lnTo>
                  <a:lnTo>
                    <a:pt x="19" y="19"/>
                  </a:lnTo>
                  <a:lnTo>
                    <a:pt x="32" y="9"/>
                  </a:lnTo>
                  <a:lnTo>
                    <a:pt x="47" y="3"/>
                  </a:lnTo>
                  <a:lnTo>
                    <a:pt x="6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 panose="020B0502020104020203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5" name="Freeform 182">
              <a:extLst>
                <a:ext uri="{FF2B5EF4-FFF2-40B4-BE49-F238E27FC236}">
                  <a16:creationId xmlns:a16="http://schemas.microsoft.com/office/drawing/2014/main" id="{5C71BAF6-7F24-2513-7A70-936B8A174D20}"/>
                </a:ext>
              </a:extLst>
            </p:cNvPr>
            <p:cNvSpPr>
              <a:spLocks/>
            </p:cNvSpPr>
            <p:nvPr/>
          </p:nvSpPr>
          <p:spPr bwMode="auto">
            <a:xfrm>
              <a:off x="981076" y="3132138"/>
              <a:ext cx="46038" cy="19050"/>
            </a:xfrm>
            <a:custGeom>
              <a:avLst/>
              <a:gdLst>
                <a:gd name="T0" fmla="*/ 64 w 321"/>
                <a:gd name="T1" fmla="*/ 0 h 128"/>
                <a:gd name="T2" fmla="*/ 257 w 321"/>
                <a:gd name="T3" fmla="*/ 0 h 128"/>
                <a:gd name="T4" fmla="*/ 274 w 321"/>
                <a:gd name="T5" fmla="*/ 4 h 128"/>
                <a:gd name="T6" fmla="*/ 290 w 321"/>
                <a:gd name="T7" fmla="*/ 10 h 128"/>
                <a:gd name="T8" fmla="*/ 302 w 321"/>
                <a:gd name="T9" fmla="*/ 19 h 128"/>
                <a:gd name="T10" fmla="*/ 312 w 321"/>
                <a:gd name="T11" fmla="*/ 33 h 128"/>
                <a:gd name="T12" fmla="*/ 319 w 321"/>
                <a:gd name="T13" fmla="*/ 47 h 128"/>
                <a:gd name="T14" fmla="*/ 321 w 321"/>
                <a:gd name="T15" fmla="*/ 65 h 128"/>
                <a:gd name="T16" fmla="*/ 319 w 321"/>
                <a:gd name="T17" fmla="*/ 82 h 128"/>
                <a:gd name="T18" fmla="*/ 312 w 321"/>
                <a:gd name="T19" fmla="*/ 96 h 128"/>
                <a:gd name="T20" fmla="*/ 302 w 321"/>
                <a:gd name="T21" fmla="*/ 110 h 128"/>
                <a:gd name="T22" fmla="*/ 290 w 321"/>
                <a:gd name="T23" fmla="*/ 119 h 128"/>
                <a:gd name="T24" fmla="*/ 274 w 321"/>
                <a:gd name="T25" fmla="*/ 126 h 128"/>
                <a:gd name="T26" fmla="*/ 257 w 321"/>
                <a:gd name="T27" fmla="*/ 128 h 128"/>
                <a:gd name="T28" fmla="*/ 64 w 321"/>
                <a:gd name="T29" fmla="*/ 128 h 128"/>
                <a:gd name="T30" fmla="*/ 48 w 321"/>
                <a:gd name="T31" fmla="*/ 126 h 128"/>
                <a:gd name="T32" fmla="*/ 32 w 321"/>
                <a:gd name="T33" fmla="*/ 119 h 128"/>
                <a:gd name="T34" fmla="*/ 19 w 321"/>
                <a:gd name="T35" fmla="*/ 110 h 128"/>
                <a:gd name="T36" fmla="*/ 9 w 321"/>
                <a:gd name="T37" fmla="*/ 96 h 128"/>
                <a:gd name="T38" fmla="*/ 3 w 321"/>
                <a:gd name="T39" fmla="*/ 82 h 128"/>
                <a:gd name="T40" fmla="*/ 0 w 321"/>
                <a:gd name="T41" fmla="*/ 65 h 128"/>
                <a:gd name="T42" fmla="*/ 3 w 321"/>
                <a:gd name="T43" fmla="*/ 47 h 128"/>
                <a:gd name="T44" fmla="*/ 9 w 321"/>
                <a:gd name="T45" fmla="*/ 33 h 128"/>
                <a:gd name="T46" fmla="*/ 19 w 321"/>
                <a:gd name="T47" fmla="*/ 19 h 128"/>
                <a:gd name="T48" fmla="*/ 32 w 321"/>
                <a:gd name="T49" fmla="*/ 10 h 128"/>
                <a:gd name="T50" fmla="*/ 48 w 321"/>
                <a:gd name="T51" fmla="*/ 4 h 128"/>
                <a:gd name="T52" fmla="*/ 64 w 321"/>
                <a:gd name="T53" fmla="*/ 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21" h="128">
                  <a:moveTo>
                    <a:pt x="64" y="0"/>
                  </a:moveTo>
                  <a:lnTo>
                    <a:pt x="257" y="0"/>
                  </a:lnTo>
                  <a:lnTo>
                    <a:pt x="274" y="4"/>
                  </a:lnTo>
                  <a:lnTo>
                    <a:pt x="290" y="10"/>
                  </a:lnTo>
                  <a:lnTo>
                    <a:pt x="302" y="19"/>
                  </a:lnTo>
                  <a:lnTo>
                    <a:pt x="312" y="33"/>
                  </a:lnTo>
                  <a:lnTo>
                    <a:pt x="319" y="47"/>
                  </a:lnTo>
                  <a:lnTo>
                    <a:pt x="321" y="65"/>
                  </a:lnTo>
                  <a:lnTo>
                    <a:pt x="319" y="82"/>
                  </a:lnTo>
                  <a:lnTo>
                    <a:pt x="312" y="96"/>
                  </a:lnTo>
                  <a:lnTo>
                    <a:pt x="302" y="110"/>
                  </a:lnTo>
                  <a:lnTo>
                    <a:pt x="290" y="119"/>
                  </a:lnTo>
                  <a:lnTo>
                    <a:pt x="274" y="126"/>
                  </a:lnTo>
                  <a:lnTo>
                    <a:pt x="257" y="128"/>
                  </a:lnTo>
                  <a:lnTo>
                    <a:pt x="64" y="128"/>
                  </a:lnTo>
                  <a:lnTo>
                    <a:pt x="48" y="126"/>
                  </a:lnTo>
                  <a:lnTo>
                    <a:pt x="32" y="119"/>
                  </a:lnTo>
                  <a:lnTo>
                    <a:pt x="19" y="110"/>
                  </a:lnTo>
                  <a:lnTo>
                    <a:pt x="9" y="96"/>
                  </a:lnTo>
                  <a:lnTo>
                    <a:pt x="3" y="82"/>
                  </a:lnTo>
                  <a:lnTo>
                    <a:pt x="0" y="65"/>
                  </a:lnTo>
                  <a:lnTo>
                    <a:pt x="3" y="47"/>
                  </a:lnTo>
                  <a:lnTo>
                    <a:pt x="9" y="33"/>
                  </a:lnTo>
                  <a:lnTo>
                    <a:pt x="19" y="19"/>
                  </a:lnTo>
                  <a:lnTo>
                    <a:pt x="32" y="10"/>
                  </a:lnTo>
                  <a:lnTo>
                    <a:pt x="48" y="4"/>
                  </a:lnTo>
                  <a:lnTo>
                    <a:pt x="6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 panose="020B0502020104020203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6" name="Freeform 183">
              <a:extLst>
                <a:ext uri="{FF2B5EF4-FFF2-40B4-BE49-F238E27FC236}">
                  <a16:creationId xmlns:a16="http://schemas.microsoft.com/office/drawing/2014/main" id="{3E0EB070-4F5D-5545-01EC-094BD4FF331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263" y="3028950"/>
              <a:ext cx="41275" cy="33338"/>
            </a:xfrm>
            <a:custGeom>
              <a:avLst/>
              <a:gdLst>
                <a:gd name="T0" fmla="*/ 230 w 294"/>
                <a:gd name="T1" fmla="*/ 0 h 222"/>
                <a:gd name="T2" fmla="*/ 247 w 294"/>
                <a:gd name="T3" fmla="*/ 2 h 222"/>
                <a:gd name="T4" fmla="*/ 262 w 294"/>
                <a:gd name="T5" fmla="*/ 8 h 222"/>
                <a:gd name="T6" fmla="*/ 275 w 294"/>
                <a:gd name="T7" fmla="*/ 18 h 222"/>
                <a:gd name="T8" fmla="*/ 286 w 294"/>
                <a:gd name="T9" fmla="*/ 31 h 222"/>
                <a:gd name="T10" fmla="*/ 292 w 294"/>
                <a:gd name="T11" fmla="*/ 47 h 222"/>
                <a:gd name="T12" fmla="*/ 294 w 294"/>
                <a:gd name="T13" fmla="*/ 63 h 222"/>
                <a:gd name="T14" fmla="*/ 292 w 294"/>
                <a:gd name="T15" fmla="*/ 80 h 222"/>
                <a:gd name="T16" fmla="*/ 286 w 294"/>
                <a:gd name="T17" fmla="*/ 95 h 222"/>
                <a:gd name="T18" fmla="*/ 276 w 294"/>
                <a:gd name="T19" fmla="*/ 108 h 222"/>
                <a:gd name="T20" fmla="*/ 263 w 294"/>
                <a:gd name="T21" fmla="*/ 118 h 222"/>
                <a:gd name="T22" fmla="*/ 96 w 294"/>
                <a:gd name="T23" fmla="*/ 213 h 222"/>
                <a:gd name="T24" fmla="*/ 80 w 294"/>
                <a:gd name="T25" fmla="*/ 220 h 222"/>
                <a:gd name="T26" fmla="*/ 64 w 294"/>
                <a:gd name="T27" fmla="*/ 222 h 222"/>
                <a:gd name="T28" fmla="*/ 48 w 294"/>
                <a:gd name="T29" fmla="*/ 220 h 222"/>
                <a:gd name="T30" fmla="*/ 32 w 294"/>
                <a:gd name="T31" fmla="*/ 214 h 222"/>
                <a:gd name="T32" fmla="*/ 19 w 294"/>
                <a:gd name="T33" fmla="*/ 204 h 222"/>
                <a:gd name="T34" fmla="*/ 8 w 294"/>
                <a:gd name="T35" fmla="*/ 190 h 222"/>
                <a:gd name="T36" fmla="*/ 2 w 294"/>
                <a:gd name="T37" fmla="*/ 175 h 222"/>
                <a:gd name="T38" fmla="*/ 0 w 294"/>
                <a:gd name="T39" fmla="*/ 158 h 222"/>
                <a:gd name="T40" fmla="*/ 2 w 294"/>
                <a:gd name="T41" fmla="*/ 142 h 222"/>
                <a:gd name="T42" fmla="*/ 8 w 294"/>
                <a:gd name="T43" fmla="*/ 127 h 222"/>
                <a:gd name="T44" fmla="*/ 19 w 294"/>
                <a:gd name="T45" fmla="*/ 114 h 222"/>
                <a:gd name="T46" fmla="*/ 31 w 294"/>
                <a:gd name="T47" fmla="*/ 103 h 222"/>
                <a:gd name="T48" fmla="*/ 198 w 294"/>
                <a:gd name="T49" fmla="*/ 8 h 222"/>
                <a:gd name="T50" fmla="*/ 215 w 294"/>
                <a:gd name="T51" fmla="*/ 2 h 222"/>
                <a:gd name="T52" fmla="*/ 230 w 294"/>
                <a:gd name="T53" fmla="*/ 0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94" h="222">
                  <a:moveTo>
                    <a:pt x="230" y="0"/>
                  </a:moveTo>
                  <a:lnTo>
                    <a:pt x="247" y="2"/>
                  </a:lnTo>
                  <a:lnTo>
                    <a:pt x="262" y="8"/>
                  </a:lnTo>
                  <a:lnTo>
                    <a:pt x="275" y="18"/>
                  </a:lnTo>
                  <a:lnTo>
                    <a:pt x="286" y="31"/>
                  </a:lnTo>
                  <a:lnTo>
                    <a:pt x="292" y="47"/>
                  </a:lnTo>
                  <a:lnTo>
                    <a:pt x="294" y="63"/>
                  </a:lnTo>
                  <a:lnTo>
                    <a:pt x="292" y="80"/>
                  </a:lnTo>
                  <a:lnTo>
                    <a:pt x="286" y="95"/>
                  </a:lnTo>
                  <a:lnTo>
                    <a:pt x="276" y="108"/>
                  </a:lnTo>
                  <a:lnTo>
                    <a:pt x="263" y="118"/>
                  </a:lnTo>
                  <a:lnTo>
                    <a:pt x="96" y="213"/>
                  </a:lnTo>
                  <a:lnTo>
                    <a:pt x="80" y="220"/>
                  </a:lnTo>
                  <a:lnTo>
                    <a:pt x="64" y="222"/>
                  </a:lnTo>
                  <a:lnTo>
                    <a:pt x="48" y="220"/>
                  </a:lnTo>
                  <a:lnTo>
                    <a:pt x="32" y="214"/>
                  </a:lnTo>
                  <a:lnTo>
                    <a:pt x="19" y="204"/>
                  </a:lnTo>
                  <a:lnTo>
                    <a:pt x="8" y="190"/>
                  </a:lnTo>
                  <a:lnTo>
                    <a:pt x="2" y="175"/>
                  </a:lnTo>
                  <a:lnTo>
                    <a:pt x="0" y="158"/>
                  </a:lnTo>
                  <a:lnTo>
                    <a:pt x="2" y="142"/>
                  </a:lnTo>
                  <a:lnTo>
                    <a:pt x="8" y="127"/>
                  </a:lnTo>
                  <a:lnTo>
                    <a:pt x="19" y="114"/>
                  </a:lnTo>
                  <a:lnTo>
                    <a:pt x="31" y="103"/>
                  </a:lnTo>
                  <a:lnTo>
                    <a:pt x="198" y="8"/>
                  </a:lnTo>
                  <a:lnTo>
                    <a:pt x="215" y="2"/>
                  </a:lnTo>
                  <a:lnTo>
                    <a:pt x="23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 panose="020B0502020104020203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7" name="Freeform 184">
              <a:extLst>
                <a:ext uri="{FF2B5EF4-FFF2-40B4-BE49-F238E27FC236}">
                  <a16:creationId xmlns:a16="http://schemas.microsoft.com/office/drawing/2014/main" id="{191ABE88-9F4A-0F21-D471-DF7F15678C63}"/>
                </a:ext>
              </a:extLst>
            </p:cNvPr>
            <p:cNvSpPr>
              <a:spLocks/>
            </p:cNvSpPr>
            <p:nvPr/>
          </p:nvSpPr>
          <p:spPr bwMode="auto">
            <a:xfrm>
              <a:off x="890588" y="2954338"/>
              <a:ext cx="31750" cy="41275"/>
            </a:xfrm>
            <a:custGeom>
              <a:avLst/>
              <a:gdLst>
                <a:gd name="T0" fmla="*/ 159 w 224"/>
                <a:gd name="T1" fmla="*/ 0 h 292"/>
                <a:gd name="T2" fmla="*/ 176 w 224"/>
                <a:gd name="T3" fmla="*/ 2 h 292"/>
                <a:gd name="T4" fmla="*/ 192 w 224"/>
                <a:gd name="T5" fmla="*/ 9 h 292"/>
                <a:gd name="T6" fmla="*/ 205 w 224"/>
                <a:gd name="T7" fmla="*/ 19 h 292"/>
                <a:gd name="T8" fmla="*/ 216 w 224"/>
                <a:gd name="T9" fmla="*/ 32 h 292"/>
                <a:gd name="T10" fmla="*/ 222 w 224"/>
                <a:gd name="T11" fmla="*/ 48 h 292"/>
                <a:gd name="T12" fmla="*/ 224 w 224"/>
                <a:gd name="T13" fmla="*/ 63 h 292"/>
                <a:gd name="T14" fmla="*/ 222 w 224"/>
                <a:gd name="T15" fmla="*/ 80 h 292"/>
                <a:gd name="T16" fmla="*/ 216 w 224"/>
                <a:gd name="T17" fmla="*/ 95 h 292"/>
                <a:gd name="T18" fmla="*/ 119 w 224"/>
                <a:gd name="T19" fmla="*/ 261 h 292"/>
                <a:gd name="T20" fmla="*/ 109 w 224"/>
                <a:gd name="T21" fmla="*/ 274 h 292"/>
                <a:gd name="T22" fmla="*/ 95 w 224"/>
                <a:gd name="T23" fmla="*/ 285 h 292"/>
                <a:gd name="T24" fmla="*/ 81 w 224"/>
                <a:gd name="T25" fmla="*/ 290 h 292"/>
                <a:gd name="T26" fmla="*/ 64 w 224"/>
                <a:gd name="T27" fmla="*/ 292 h 292"/>
                <a:gd name="T28" fmla="*/ 48 w 224"/>
                <a:gd name="T29" fmla="*/ 290 h 292"/>
                <a:gd name="T30" fmla="*/ 32 w 224"/>
                <a:gd name="T31" fmla="*/ 284 h 292"/>
                <a:gd name="T32" fmla="*/ 18 w 224"/>
                <a:gd name="T33" fmla="*/ 273 h 292"/>
                <a:gd name="T34" fmla="*/ 8 w 224"/>
                <a:gd name="T35" fmla="*/ 261 h 292"/>
                <a:gd name="T36" fmla="*/ 2 w 224"/>
                <a:gd name="T37" fmla="*/ 245 h 292"/>
                <a:gd name="T38" fmla="*/ 0 w 224"/>
                <a:gd name="T39" fmla="*/ 230 h 292"/>
                <a:gd name="T40" fmla="*/ 2 w 224"/>
                <a:gd name="T41" fmla="*/ 213 h 292"/>
                <a:gd name="T42" fmla="*/ 8 w 224"/>
                <a:gd name="T43" fmla="*/ 197 h 292"/>
                <a:gd name="T44" fmla="*/ 105 w 224"/>
                <a:gd name="T45" fmla="*/ 32 h 292"/>
                <a:gd name="T46" fmla="*/ 115 w 224"/>
                <a:gd name="T47" fmla="*/ 18 h 292"/>
                <a:gd name="T48" fmla="*/ 129 w 224"/>
                <a:gd name="T49" fmla="*/ 8 h 292"/>
                <a:gd name="T50" fmla="*/ 144 w 224"/>
                <a:gd name="T51" fmla="*/ 2 h 292"/>
                <a:gd name="T52" fmla="*/ 159 w 224"/>
                <a:gd name="T53" fmla="*/ 0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24" h="292">
                  <a:moveTo>
                    <a:pt x="159" y="0"/>
                  </a:moveTo>
                  <a:lnTo>
                    <a:pt x="176" y="2"/>
                  </a:lnTo>
                  <a:lnTo>
                    <a:pt x="192" y="9"/>
                  </a:lnTo>
                  <a:lnTo>
                    <a:pt x="205" y="19"/>
                  </a:lnTo>
                  <a:lnTo>
                    <a:pt x="216" y="32"/>
                  </a:lnTo>
                  <a:lnTo>
                    <a:pt x="222" y="48"/>
                  </a:lnTo>
                  <a:lnTo>
                    <a:pt x="224" y="63"/>
                  </a:lnTo>
                  <a:lnTo>
                    <a:pt x="222" y="80"/>
                  </a:lnTo>
                  <a:lnTo>
                    <a:pt x="216" y="95"/>
                  </a:lnTo>
                  <a:lnTo>
                    <a:pt x="119" y="261"/>
                  </a:lnTo>
                  <a:lnTo>
                    <a:pt x="109" y="274"/>
                  </a:lnTo>
                  <a:lnTo>
                    <a:pt x="95" y="285"/>
                  </a:lnTo>
                  <a:lnTo>
                    <a:pt x="81" y="290"/>
                  </a:lnTo>
                  <a:lnTo>
                    <a:pt x="64" y="292"/>
                  </a:lnTo>
                  <a:lnTo>
                    <a:pt x="48" y="290"/>
                  </a:lnTo>
                  <a:lnTo>
                    <a:pt x="32" y="284"/>
                  </a:lnTo>
                  <a:lnTo>
                    <a:pt x="18" y="273"/>
                  </a:lnTo>
                  <a:lnTo>
                    <a:pt x="8" y="261"/>
                  </a:lnTo>
                  <a:lnTo>
                    <a:pt x="2" y="245"/>
                  </a:lnTo>
                  <a:lnTo>
                    <a:pt x="0" y="230"/>
                  </a:lnTo>
                  <a:lnTo>
                    <a:pt x="2" y="213"/>
                  </a:lnTo>
                  <a:lnTo>
                    <a:pt x="8" y="197"/>
                  </a:lnTo>
                  <a:lnTo>
                    <a:pt x="105" y="32"/>
                  </a:lnTo>
                  <a:lnTo>
                    <a:pt x="115" y="18"/>
                  </a:lnTo>
                  <a:lnTo>
                    <a:pt x="129" y="8"/>
                  </a:lnTo>
                  <a:lnTo>
                    <a:pt x="144" y="2"/>
                  </a:lnTo>
                  <a:lnTo>
                    <a:pt x="15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 panose="020B0502020104020203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8" name="Freeform 185">
              <a:extLst>
                <a:ext uri="{FF2B5EF4-FFF2-40B4-BE49-F238E27FC236}">
                  <a16:creationId xmlns:a16="http://schemas.microsoft.com/office/drawing/2014/main" id="{F6B75B9F-39BC-221B-398A-15F5D1735807}"/>
                </a:ext>
              </a:extLst>
            </p:cNvPr>
            <p:cNvSpPr>
              <a:spLocks/>
            </p:cNvSpPr>
            <p:nvPr/>
          </p:nvSpPr>
          <p:spPr bwMode="auto">
            <a:xfrm>
              <a:off x="787401" y="3065463"/>
              <a:ext cx="44450" cy="142875"/>
            </a:xfrm>
            <a:custGeom>
              <a:avLst/>
              <a:gdLst>
                <a:gd name="T0" fmla="*/ 154 w 308"/>
                <a:gd name="T1" fmla="*/ 0 h 991"/>
                <a:gd name="T2" fmla="*/ 186 w 308"/>
                <a:gd name="T3" fmla="*/ 2 h 991"/>
                <a:gd name="T4" fmla="*/ 213 w 308"/>
                <a:gd name="T5" fmla="*/ 8 h 991"/>
                <a:gd name="T6" fmla="*/ 238 w 308"/>
                <a:gd name="T7" fmla="*/ 17 h 991"/>
                <a:gd name="T8" fmla="*/ 259 w 308"/>
                <a:gd name="T9" fmla="*/ 30 h 991"/>
                <a:gd name="T10" fmla="*/ 277 w 308"/>
                <a:gd name="T11" fmla="*/ 47 h 991"/>
                <a:gd name="T12" fmla="*/ 291 w 308"/>
                <a:gd name="T13" fmla="*/ 67 h 991"/>
                <a:gd name="T14" fmla="*/ 301 w 308"/>
                <a:gd name="T15" fmla="*/ 91 h 991"/>
                <a:gd name="T16" fmla="*/ 306 w 308"/>
                <a:gd name="T17" fmla="*/ 119 h 991"/>
                <a:gd name="T18" fmla="*/ 308 w 308"/>
                <a:gd name="T19" fmla="*/ 150 h 991"/>
                <a:gd name="T20" fmla="*/ 308 w 308"/>
                <a:gd name="T21" fmla="*/ 375 h 991"/>
                <a:gd name="T22" fmla="*/ 307 w 308"/>
                <a:gd name="T23" fmla="*/ 405 h 991"/>
                <a:gd name="T24" fmla="*/ 304 w 308"/>
                <a:gd name="T25" fmla="*/ 435 h 991"/>
                <a:gd name="T26" fmla="*/ 301 w 308"/>
                <a:gd name="T27" fmla="*/ 466 h 991"/>
                <a:gd name="T28" fmla="*/ 240 w 308"/>
                <a:gd name="T29" fmla="*/ 920 h 991"/>
                <a:gd name="T30" fmla="*/ 236 w 308"/>
                <a:gd name="T31" fmla="*/ 942 h 991"/>
                <a:gd name="T32" fmla="*/ 229 w 308"/>
                <a:gd name="T33" fmla="*/ 959 h 991"/>
                <a:gd name="T34" fmla="*/ 219 w 308"/>
                <a:gd name="T35" fmla="*/ 972 h 991"/>
                <a:gd name="T36" fmla="*/ 207 w 308"/>
                <a:gd name="T37" fmla="*/ 981 h 991"/>
                <a:gd name="T38" fmla="*/ 192 w 308"/>
                <a:gd name="T39" fmla="*/ 987 h 991"/>
                <a:gd name="T40" fmla="*/ 174 w 308"/>
                <a:gd name="T41" fmla="*/ 990 h 991"/>
                <a:gd name="T42" fmla="*/ 154 w 308"/>
                <a:gd name="T43" fmla="*/ 991 h 991"/>
                <a:gd name="T44" fmla="*/ 135 w 308"/>
                <a:gd name="T45" fmla="*/ 990 h 991"/>
                <a:gd name="T46" fmla="*/ 117 w 308"/>
                <a:gd name="T47" fmla="*/ 987 h 991"/>
                <a:gd name="T48" fmla="*/ 102 w 308"/>
                <a:gd name="T49" fmla="*/ 981 h 991"/>
                <a:gd name="T50" fmla="*/ 90 w 308"/>
                <a:gd name="T51" fmla="*/ 972 h 991"/>
                <a:gd name="T52" fmla="*/ 80 w 308"/>
                <a:gd name="T53" fmla="*/ 959 h 991"/>
                <a:gd name="T54" fmla="*/ 73 w 308"/>
                <a:gd name="T55" fmla="*/ 942 h 991"/>
                <a:gd name="T56" fmla="*/ 69 w 308"/>
                <a:gd name="T57" fmla="*/ 920 h 991"/>
                <a:gd name="T58" fmla="*/ 8 w 308"/>
                <a:gd name="T59" fmla="*/ 466 h 991"/>
                <a:gd name="T60" fmla="*/ 5 w 308"/>
                <a:gd name="T61" fmla="*/ 435 h 991"/>
                <a:gd name="T62" fmla="*/ 2 w 308"/>
                <a:gd name="T63" fmla="*/ 405 h 991"/>
                <a:gd name="T64" fmla="*/ 0 w 308"/>
                <a:gd name="T65" fmla="*/ 375 h 991"/>
                <a:gd name="T66" fmla="*/ 0 w 308"/>
                <a:gd name="T67" fmla="*/ 150 h 991"/>
                <a:gd name="T68" fmla="*/ 3 w 308"/>
                <a:gd name="T69" fmla="*/ 119 h 991"/>
                <a:gd name="T70" fmla="*/ 8 w 308"/>
                <a:gd name="T71" fmla="*/ 91 h 991"/>
                <a:gd name="T72" fmla="*/ 18 w 308"/>
                <a:gd name="T73" fmla="*/ 67 h 991"/>
                <a:gd name="T74" fmla="*/ 32 w 308"/>
                <a:gd name="T75" fmla="*/ 47 h 991"/>
                <a:gd name="T76" fmla="*/ 50 w 308"/>
                <a:gd name="T77" fmla="*/ 30 h 991"/>
                <a:gd name="T78" fmla="*/ 71 w 308"/>
                <a:gd name="T79" fmla="*/ 17 h 991"/>
                <a:gd name="T80" fmla="*/ 96 w 308"/>
                <a:gd name="T81" fmla="*/ 8 h 991"/>
                <a:gd name="T82" fmla="*/ 123 w 308"/>
                <a:gd name="T83" fmla="*/ 2 h 991"/>
                <a:gd name="T84" fmla="*/ 154 w 308"/>
                <a:gd name="T85" fmla="*/ 0 h 9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08" h="991">
                  <a:moveTo>
                    <a:pt x="154" y="0"/>
                  </a:moveTo>
                  <a:lnTo>
                    <a:pt x="186" y="2"/>
                  </a:lnTo>
                  <a:lnTo>
                    <a:pt x="213" y="8"/>
                  </a:lnTo>
                  <a:lnTo>
                    <a:pt x="238" y="17"/>
                  </a:lnTo>
                  <a:lnTo>
                    <a:pt x="259" y="30"/>
                  </a:lnTo>
                  <a:lnTo>
                    <a:pt x="277" y="47"/>
                  </a:lnTo>
                  <a:lnTo>
                    <a:pt x="291" y="67"/>
                  </a:lnTo>
                  <a:lnTo>
                    <a:pt x="301" y="91"/>
                  </a:lnTo>
                  <a:lnTo>
                    <a:pt x="306" y="119"/>
                  </a:lnTo>
                  <a:lnTo>
                    <a:pt x="308" y="150"/>
                  </a:lnTo>
                  <a:lnTo>
                    <a:pt x="308" y="375"/>
                  </a:lnTo>
                  <a:lnTo>
                    <a:pt x="307" y="405"/>
                  </a:lnTo>
                  <a:lnTo>
                    <a:pt x="304" y="435"/>
                  </a:lnTo>
                  <a:lnTo>
                    <a:pt x="301" y="466"/>
                  </a:lnTo>
                  <a:lnTo>
                    <a:pt x="240" y="920"/>
                  </a:lnTo>
                  <a:lnTo>
                    <a:pt x="236" y="942"/>
                  </a:lnTo>
                  <a:lnTo>
                    <a:pt x="229" y="959"/>
                  </a:lnTo>
                  <a:lnTo>
                    <a:pt x="219" y="972"/>
                  </a:lnTo>
                  <a:lnTo>
                    <a:pt x="207" y="981"/>
                  </a:lnTo>
                  <a:lnTo>
                    <a:pt x="192" y="987"/>
                  </a:lnTo>
                  <a:lnTo>
                    <a:pt x="174" y="990"/>
                  </a:lnTo>
                  <a:lnTo>
                    <a:pt x="154" y="991"/>
                  </a:lnTo>
                  <a:lnTo>
                    <a:pt x="135" y="990"/>
                  </a:lnTo>
                  <a:lnTo>
                    <a:pt x="117" y="987"/>
                  </a:lnTo>
                  <a:lnTo>
                    <a:pt x="102" y="981"/>
                  </a:lnTo>
                  <a:lnTo>
                    <a:pt x="90" y="972"/>
                  </a:lnTo>
                  <a:lnTo>
                    <a:pt x="80" y="959"/>
                  </a:lnTo>
                  <a:lnTo>
                    <a:pt x="73" y="942"/>
                  </a:lnTo>
                  <a:lnTo>
                    <a:pt x="69" y="920"/>
                  </a:lnTo>
                  <a:lnTo>
                    <a:pt x="8" y="466"/>
                  </a:lnTo>
                  <a:lnTo>
                    <a:pt x="5" y="435"/>
                  </a:lnTo>
                  <a:lnTo>
                    <a:pt x="2" y="405"/>
                  </a:lnTo>
                  <a:lnTo>
                    <a:pt x="0" y="375"/>
                  </a:lnTo>
                  <a:lnTo>
                    <a:pt x="0" y="150"/>
                  </a:lnTo>
                  <a:lnTo>
                    <a:pt x="3" y="119"/>
                  </a:lnTo>
                  <a:lnTo>
                    <a:pt x="8" y="91"/>
                  </a:lnTo>
                  <a:lnTo>
                    <a:pt x="18" y="67"/>
                  </a:lnTo>
                  <a:lnTo>
                    <a:pt x="32" y="47"/>
                  </a:lnTo>
                  <a:lnTo>
                    <a:pt x="50" y="30"/>
                  </a:lnTo>
                  <a:lnTo>
                    <a:pt x="71" y="17"/>
                  </a:lnTo>
                  <a:lnTo>
                    <a:pt x="96" y="8"/>
                  </a:lnTo>
                  <a:lnTo>
                    <a:pt x="123" y="2"/>
                  </a:lnTo>
                  <a:lnTo>
                    <a:pt x="15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 panose="020B0502020104020203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9" name="Freeform 186">
              <a:extLst>
                <a:ext uri="{FF2B5EF4-FFF2-40B4-BE49-F238E27FC236}">
                  <a16:creationId xmlns:a16="http://schemas.microsoft.com/office/drawing/2014/main" id="{9C02CFD7-A230-468D-BF93-3EADEED8B9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85813" y="3225800"/>
              <a:ext cx="47625" cy="46038"/>
            </a:xfrm>
            <a:custGeom>
              <a:avLst/>
              <a:gdLst>
                <a:gd name="T0" fmla="*/ 160 w 321"/>
                <a:gd name="T1" fmla="*/ 0 h 319"/>
                <a:gd name="T2" fmla="*/ 193 w 321"/>
                <a:gd name="T3" fmla="*/ 4 h 319"/>
                <a:gd name="T4" fmla="*/ 222 w 321"/>
                <a:gd name="T5" fmla="*/ 14 h 319"/>
                <a:gd name="T6" fmla="*/ 250 w 321"/>
                <a:gd name="T7" fmla="*/ 28 h 319"/>
                <a:gd name="T8" fmla="*/ 274 w 321"/>
                <a:gd name="T9" fmla="*/ 47 h 319"/>
                <a:gd name="T10" fmla="*/ 294 w 321"/>
                <a:gd name="T11" fmla="*/ 71 h 319"/>
                <a:gd name="T12" fmla="*/ 308 w 321"/>
                <a:gd name="T13" fmla="*/ 98 h 319"/>
                <a:gd name="T14" fmla="*/ 318 w 321"/>
                <a:gd name="T15" fmla="*/ 128 h 319"/>
                <a:gd name="T16" fmla="*/ 321 w 321"/>
                <a:gd name="T17" fmla="*/ 159 h 319"/>
                <a:gd name="T18" fmla="*/ 318 w 321"/>
                <a:gd name="T19" fmla="*/ 192 h 319"/>
                <a:gd name="T20" fmla="*/ 308 w 321"/>
                <a:gd name="T21" fmla="*/ 222 h 319"/>
                <a:gd name="T22" fmla="*/ 294 w 321"/>
                <a:gd name="T23" fmla="*/ 249 h 319"/>
                <a:gd name="T24" fmla="*/ 274 w 321"/>
                <a:gd name="T25" fmla="*/ 272 h 319"/>
                <a:gd name="T26" fmla="*/ 250 w 321"/>
                <a:gd name="T27" fmla="*/ 291 h 319"/>
                <a:gd name="T28" fmla="*/ 222 w 321"/>
                <a:gd name="T29" fmla="*/ 306 h 319"/>
                <a:gd name="T30" fmla="*/ 193 w 321"/>
                <a:gd name="T31" fmla="*/ 315 h 319"/>
                <a:gd name="T32" fmla="*/ 160 w 321"/>
                <a:gd name="T33" fmla="*/ 319 h 319"/>
                <a:gd name="T34" fmla="*/ 128 w 321"/>
                <a:gd name="T35" fmla="*/ 315 h 319"/>
                <a:gd name="T36" fmla="*/ 99 w 321"/>
                <a:gd name="T37" fmla="*/ 306 h 319"/>
                <a:gd name="T38" fmla="*/ 71 w 321"/>
                <a:gd name="T39" fmla="*/ 291 h 319"/>
                <a:gd name="T40" fmla="*/ 47 w 321"/>
                <a:gd name="T41" fmla="*/ 272 h 319"/>
                <a:gd name="T42" fmla="*/ 27 w 321"/>
                <a:gd name="T43" fmla="*/ 249 h 319"/>
                <a:gd name="T44" fmla="*/ 13 w 321"/>
                <a:gd name="T45" fmla="*/ 222 h 319"/>
                <a:gd name="T46" fmla="*/ 3 w 321"/>
                <a:gd name="T47" fmla="*/ 192 h 319"/>
                <a:gd name="T48" fmla="*/ 0 w 321"/>
                <a:gd name="T49" fmla="*/ 159 h 319"/>
                <a:gd name="T50" fmla="*/ 3 w 321"/>
                <a:gd name="T51" fmla="*/ 128 h 319"/>
                <a:gd name="T52" fmla="*/ 13 w 321"/>
                <a:gd name="T53" fmla="*/ 98 h 319"/>
                <a:gd name="T54" fmla="*/ 27 w 321"/>
                <a:gd name="T55" fmla="*/ 71 h 319"/>
                <a:gd name="T56" fmla="*/ 47 w 321"/>
                <a:gd name="T57" fmla="*/ 47 h 319"/>
                <a:gd name="T58" fmla="*/ 71 w 321"/>
                <a:gd name="T59" fmla="*/ 28 h 319"/>
                <a:gd name="T60" fmla="*/ 99 w 321"/>
                <a:gd name="T61" fmla="*/ 14 h 319"/>
                <a:gd name="T62" fmla="*/ 128 w 321"/>
                <a:gd name="T63" fmla="*/ 4 h 319"/>
                <a:gd name="T64" fmla="*/ 160 w 321"/>
                <a:gd name="T65" fmla="*/ 0 h 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21" h="319">
                  <a:moveTo>
                    <a:pt x="160" y="0"/>
                  </a:moveTo>
                  <a:lnTo>
                    <a:pt x="193" y="4"/>
                  </a:lnTo>
                  <a:lnTo>
                    <a:pt x="222" y="14"/>
                  </a:lnTo>
                  <a:lnTo>
                    <a:pt x="250" y="28"/>
                  </a:lnTo>
                  <a:lnTo>
                    <a:pt x="274" y="47"/>
                  </a:lnTo>
                  <a:lnTo>
                    <a:pt x="294" y="71"/>
                  </a:lnTo>
                  <a:lnTo>
                    <a:pt x="308" y="98"/>
                  </a:lnTo>
                  <a:lnTo>
                    <a:pt x="318" y="128"/>
                  </a:lnTo>
                  <a:lnTo>
                    <a:pt x="321" y="159"/>
                  </a:lnTo>
                  <a:lnTo>
                    <a:pt x="318" y="192"/>
                  </a:lnTo>
                  <a:lnTo>
                    <a:pt x="308" y="222"/>
                  </a:lnTo>
                  <a:lnTo>
                    <a:pt x="294" y="249"/>
                  </a:lnTo>
                  <a:lnTo>
                    <a:pt x="274" y="272"/>
                  </a:lnTo>
                  <a:lnTo>
                    <a:pt x="250" y="291"/>
                  </a:lnTo>
                  <a:lnTo>
                    <a:pt x="222" y="306"/>
                  </a:lnTo>
                  <a:lnTo>
                    <a:pt x="193" y="315"/>
                  </a:lnTo>
                  <a:lnTo>
                    <a:pt x="160" y="319"/>
                  </a:lnTo>
                  <a:lnTo>
                    <a:pt x="128" y="315"/>
                  </a:lnTo>
                  <a:lnTo>
                    <a:pt x="99" y="306"/>
                  </a:lnTo>
                  <a:lnTo>
                    <a:pt x="71" y="291"/>
                  </a:lnTo>
                  <a:lnTo>
                    <a:pt x="47" y="272"/>
                  </a:lnTo>
                  <a:lnTo>
                    <a:pt x="27" y="249"/>
                  </a:lnTo>
                  <a:lnTo>
                    <a:pt x="13" y="222"/>
                  </a:lnTo>
                  <a:lnTo>
                    <a:pt x="3" y="192"/>
                  </a:lnTo>
                  <a:lnTo>
                    <a:pt x="0" y="159"/>
                  </a:lnTo>
                  <a:lnTo>
                    <a:pt x="3" y="128"/>
                  </a:lnTo>
                  <a:lnTo>
                    <a:pt x="13" y="98"/>
                  </a:lnTo>
                  <a:lnTo>
                    <a:pt x="27" y="71"/>
                  </a:lnTo>
                  <a:lnTo>
                    <a:pt x="47" y="47"/>
                  </a:lnTo>
                  <a:lnTo>
                    <a:pt x="71" y="28"/>
                  </a:lnTo>
                  <a:lnTo>
                    <a:pt x="99" y="14"/>
                  </a:lnTo>
                  <a:lnTo>
                    <a:pt x="128" y="4"/>
                  </a:lnTo>
                  <a:lnTo>
                    <a:pt x="16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 panose="020B0502020104020203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00" name="TextBox 199">
            <a:extLst>
              <a:ext uri="{FF2B5EF4-FFF2-40B4-BE49-F238E27FC236}">
                <a16:creationId xmlns:a16="http://schemas.microsoft.com/office/drawing/2014/main" id="{2DADB6CA-B28E-5EBE-F109-0B4D2A2D3D91}"/>
              </a:ext>
            </a:extLst>
          </p:cNvPr>
          <p:cNvSpPr txBox="1"/>
          <p:nvPr/>
        </p:nvSpPr>
        <p:spPr>
          <a:xfrm>
            <a:off x="8921426" y="2584769"/>
            <a:ext cx="195097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defTabSz="914400">
              <a:defRPr/>
            </a:pPr>
            <a:r>
              <a:rPr lang="en-US" sz="1200" kern="0" dirty="0">
                <a:latin typeface="Gill Sans MT" panose="020B0502020104020203" pitchFamily="34" charset="0"/>
                <a:cs typeface="Arial" panose="020B0604020202020204" pitchFamily="34" charset="0"/>
              </a:rPr>
              <a:t>Agile sprint-based execution will expedite the delivery for business to see the dashboard and subsequently mature the model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Gill Sans MT" panose="020B0502020104020203" pitchFamily="34" charset="0"/>
              <a:cs typeface="Arial" panose="020B0604020202020204" pitchFamily="34" charset="0"/>
            </a:endParaRPr>
          </a:p>
        </p:txBody>
      </p:sp>
      <p:sp>
        <p:nvSpPr>
          <p:cNvPr id="201" name="TextBox 200">
            <a:extLst>
              <a:ext uri="{FF2B5EF4-FFF2-40B4-BE49-F238E27FC236}">
                <a16:creationId xmlns:a16="http://schemas.microsoft.com/office/drawing/2014/main" id="{D27FFD0A-9EAF-4912-CEA7-46E09B9D4C04}"/>
              </a:ext>
            </a:extLst>
          </p:cNvPr>
          <p:cNvSpPr txBox="1"/>
          <p:nvPr/>
        </p:nvSpPr>
        <p:spPr>
          <a:xfrm>
            <a:off x="8921426" y="2361833"/>
            <a:ext cx="18222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E3570"/>
                </a:solidFill>
                <a:effectLst/>
                <a:uLnTx/>
                <a:uFillTx/>
                <a:latin typeface="Gill Sans MT" panose="020B0502020104020203" pitchFamily="34" charset="0"/>
                <a:cs typeface="Arial" panose="020B0604020202020204" pitchFamily="34" charset="0"/>
              </a:rPr>
              <a:t>Execution approach</a:t>
            </a:r>
          </a:p>
        </p:txBody>
      </p:sp>
      <p:sp>
        <p:nvSpPr>
          <p:cNvPr id="202" name="TextBox 201">
            <a:extLst>
              <a:ext uri="{FF2B5EF4-FFF2-40B4-BE49-F238E27FC236}">
                <a16:creationId xmlns:a16="http://schemas.microsoft.com/office/drawing/2014/main" id="{7410EE1C-D9AE-82EB-8F6E-A5C89AAFD183}"/>
              </a:ext>
            </a:extLst>
          </p:cNvPr>
          <p:cNvSpPr txBox="1"/>
          <p:nvPr/>
        </p:nvSpPr>
        <p:spPr>
          <a:xfrm>
            <a:off x="8921426" y="3906329"/>
            <a:ext cx="241339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defTabSz="914400">
              <a:defRPr/>
            </a:pPr>
            <a:r>
              <a:rPr lang="en-US" sz="1200" kern="0" dirty="0">
                <a:latin typeface="Gill Sans MT" panose="020B0502020104020203" pitchFamily="34" charset="0"/>
                <a:cs typeface="Arial" panose="020B0604020202020204" pitchFamily="34" charset="0"/>
              </a:rPr>
              <a:t>An experienced Client Management team, complemented by robust governance to ensure a seamless and successful implementation</a:t>
            </a:r>
          </a:p>
        </p:txBody>
      </p:sp>
      <p:sp>
        <p:nvSpPr>
          <p:cNvPr id="203" name="TextBox 202">
            <a:extLst>
              <a:ext uri="{FF2B5EF4-FFF2-40B4-BE49-F238E27FC236}">
                <a16:creationId xmlns:a16="http://schemas.microsoft.com/office/drawing/2014/main" id="{7A1EB058-A1CE-0040-D98A-0DF1C1C9E328}"/>
              </a:ext>
            </a:extLst>
          </p:cNvPr>
          <p:cNvSpPr txBox="1"/>
          <p:nvPr/>
        </p:nvSpPr>
        <p:spPr>
          <a:xfrm>
            <a:off x="8921426" y="3683393"/>
            <a:ext cx="18222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E3570"/>
                </a:solidFill>
                <a:effectLst/>
                <a:uLnTx/>
                <a:uFillTx/>
                <a:latin typeface="Gill Sans MT" panose="020B0502020104020203" pitchFamily="34" charset="0"/>
                <a:cs typeface="Arial" panose="020B0604020202020204" pitchFamily="34" charset="0"/>
              </a:rPr>
              <a:t>Program Governance</a:t>
            </a:r>
          </a:p>
        </p:txBody>
      </p:sp>
      <p:sp>
        <p:nvSpPr>
          <p:cNvPr id="204" name="TextBox 203">
            <a:extLst>
              <a:ext uri="{FF2B5EF4-FFF2-40B4-BE49-F238E27FC236}">
                <a16:creationId xmlns:a16="http://schemas.microsoft.com/office/drawing/2014/main" id="{89B47C50-929B-EC72-CEAA-C5350C912A0C}"/>
              </a:ext>
            </a:extLst>
          </p:cNvPr>
          <p:cNvSpPr txBox="1"/>
          <p:nvPr/>
        </p:nvSpPr>
        <p:spPr>
          <a:xfrm>
            <a:off x="8921426" y="5202019"/>
            <a:ext cx="232767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defTabSz="914400">
              <a:defRPr/>
            </a:pPr>
            <a:r>
              <a:rPr lang="en-US" sz="1200" kern="0">
                <a:latin typeface="Gill Sans MT" panose="020B0502020104020203" pitchFamily="34" charset="0"/>
                <a:cs typeface="Arial" panose="020B0604020202020204" pitchFamily="34" charset="0"/>
              </a:rPr>
              <a:t>VM Digital, Cloud &amp; Data Leverage LoB will extend required support in delivery assurance</a:t>
            </a:r>
            <a:endParaRPr kumimoji="0" lang="en-US" sz="12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Gill Sans MT" panose="020B0502020104020203" pitchFamily="34" charset="0"/>
              <a:cs typeface="Arial" panose="020B0604020202020204" pitchFamily="34" charset="0"/>
            </a:endParaRPr>
          </a:p>
        </p:txBody>
      </p:sp>
      <p:sp>
        <p:nvSpPr>
          <p:cNvPr id="205" name="TextBox 204">
            <a:extLst>
              <a:ext uri="{FF2B5EF4-FFF2-40B4-BE49-F238E27FC236}">
                <a16:creationId xmlns:a16="http://schemas.microsoft.com/office/drawing/2014/main" id="{AD303F68-FA3D-826F-7AD7-2D0957F79215}"/>
              </a:ext>
            </a:extLst>
          </p:cNvPr>
          <p:cNvSpPr txBox="1"/>
          <p:nvPr/>
        </p:nvSpPr>
        <p:spPr>
          <a:xfrm>
            <a:off x="8921425" y="4979083"/>
            <a:ext cx="211804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0">
                <a:solidFill>
                  <a:srgbClr val="0E3570"/>
                </a:solidFill>
                <a:latin typeface="Gill Sans MT" panose="020B0502020104020203" pitchFamily="34" charset="0"/>
                <a:cs typeface="Arial" panose="020B0604020202020204" pitchFamily="34" charset="0"/>
              </a:rPr>
              <a:t>VM internal </a:t>
            </a:r>
            <a:r>
              <a:rPr lang="en-US" sz="1200" b="1" kern="0" err="1">
                <a:solidFill>
                  <a:srgbClr val="0E3570"/>
                </a:solidFill>
                <a:latin typeface="Gill Sans MT" panose="020B0502020104020203" pitchFamily="34" charset="0"/>
                <a:cs typeface="Arial" panose="020B0604020202020204" pitchFamily="34" charset="0"/>
              </a:rPr>
              <a:t>LoB</a:t>
            </a:r>
            <a:r>
              <a:rPr lang="en-US" sz="1200" b="1" kern="0">
                <a:solidFill>
                  <a:srgbClr val="0E3570"/>
                </a:solidFill>
                <a:latin typeface="Gill Sans MT" panose="020B0502020104020203" pitchFamily="34" charset="0"/>
                <a:cs typeface="Arial" panose="020B0604020202020204" pitchFamily="34" charset="0"/>
              </a:rPr>
              <a:t> Support</a:t>
            </a: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0E3570"/>
              </a:solidFill>
              <a:effectLst/>
              <a:uLnTx/>
              <a:uFillTx/>
              <a:latin typeface="Gill Sans MT" panose="020B0502020104020203" pitchFamily="34" charset="0"/>
              <a:cs typeface="Arial" panose="020B0604020202020204" pitchFamily="34" charset="0"/>
            </a:endParaRPr>
          </a:p>
        </p:txBody>
      </p:sp>
      <p:sp>
        <p:nvSpPr>
          <p:cNvPr id="206" name="TextBox 205">
            <a:extLst>
              <a:ext uri="{FF2B5EF4-FFF2-40B4-BE49-F238E27FC236}">
                <a16:creationId xmlns:a16="http://schemas.microsoft.com/office/drawing/2014/main" id="{4CC0E0AF-62D9-D65C-6D13-52D87727D8E0}"/>
              </a:ext>
            </a:extLst>
          </p:cNvPr>
          <p:cNvSpPr txBox="1"/>
          <p:nvPr/>
        </p:nvSpPr>
        <p:spPr>
          <a:xfrm>
            <a:off x="1657351" y="2584769"/>
            <a:ext cx="218185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r" defTabSz="914400">
              <a:defRPr/>
            </a:pPr>
            <a:r>
              <a:rPr lang="en-US" sz="1200" kern="0" dirty="0">
                <a:latin typeface="Gill Sans MT" panose="020B0502020104020203" pitchFamily="34" charset="0"/>
                <a:cs typeface="Arial" panose="020B0604020202020204" pitchFamily="34" charset="0"/>
              </a:rPr>
              <a:t>In-Depth understanding of GEICO landscape and</a:t>
            </a:r>
          </a:p>
          <a:p>
            <a:pPr lvl="0" algn="r" defTabSz="914400">
              <a:defRPr/>
            </a:pPr>
            <a:r>
              <a:rPr lang="en-US" sz="1200" kern="0" dirty="0">
                <a:latin typeface="Gill Sans MT" panose="020B0502020104020203" pitchFamily="34" charset="0"/>
                <a:cs typeface="Arial" panose="020B0604020202020204" pitchFamily="34" charset="0"/>
              </a:rPr>
              <a:t>ecosystem, and priorities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Gill Sans MT" panose="020B0502020104020203" pitchFamily="34" charset="0"/>
              <a:cs typeface="Arial" panose="020B0604020202020204" pitchFamily="34" charset="0"/>
            </a:endParaRPr>
          </a:p>
        </p:txBody>
      </p:sp>
      <p:sp>
        <p:nvSpPr>
          <p:cNvPr id="207" name="TextBox 206">
            <a:extLst>
              <a:ext uri="{FF2B5EF4-FFF2-40B4-BE49-F238E27FC236}">
                <a16:creationId xmlns:a16="http://schemas.microsoft.com/office/drawing/2014/main" id="{2A50F789-4ADF-8540-F516-3F944B7D6FBF}"/>
              </a:ext>
            </a:extLst>
          </p:cNvPr>
          <p:cNvSpPr txBox="1"/>
          <p:nvPr/>
        </p:nvSpPr>
        <p:spPr>
          <a:xfrm>
            <a:off x="1724098" y="2361833"/>
            <a:ext cx="211510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E3570"/>
                </a:solidFill>
                <a:effectLst/>
                <a:uLnTx/>
                <a:uFillTx/>
                <a:latin typeface="Gill Sans MT" panose="020B0502020104020203" pitchFamily="34" charset="0"/>
                <a:cs typeface="Arial" panose="020B0604020202020204" pitchFamily="34" charset="0"/>
              </a:rPr>
              <a:t>Geico System Knowledge</a:t>
            </a:r>
          </a:p>
        </p:txBody>
      </p:sp>
      <p:sp>
        <p:nvSpPr>
          <p:cNvPr id="208" name="TextBox 207">
            <a:extLst>
              <a:ext uri="{FF2B5EF4-FFF2-40B4-BE49-F238E27FC236}">
                <a16:creationId xmlns:a16="http://schemas.microsoft.com/office/drawing/2014/main" id="{478235C7-E252-7660-E2B1-6FF89570AD62}"/>
              </a:ext>
            </a:extLst>
          </p:cNvPr>
          <p:cNvSpPr txBox="1"/>
          <p:nvPr/>
        </p:nvSpPr>
        <p:spPr>
          <a:xfrm>
            <a:off x="1657351" y="3906329"/>
            <a:ext cx="218185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r" defTabSz="914400">
              <a:defRPr/>
            </a:pPr>
            <a:r>
              <a:rPr lang="en-US" sz="1200" kern="0" dirty="0">
                <a:latin typeface="Gill Sans MT" panose="020B0502020104020203" pitchFamily="34" charset="0"/>
                <a:cs typeface="Arial" panose="020B0604020202020204" pitchFamily="34" charset="0"/>
              </a:rPr>
              <a:t>Based on knowledge, we have tailored the solution into 2 phases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Gill Sans MT" panose="020B0502020104020203" pitchFamily="34" charset="0"/>
              <a:cs typeface="Arial" panose="020B0604020202020204" pitchFamily="34" charset="0"/>
            </a:endParaRPr>
          </a:p>
        </p:txBody>
      </p:sp>
      <p:sp>
        <p:nvSpPr>
          <p:cNvPr id="209" name="TextBox 208">
            <a:extLst>
              <a:ext uri="{FF2B5EF4-FFF2-40B4-BE49-F238E27FC236}">
                <a16:creationId xmlns:a16="http://schemas.microsoft.com/office/drawing/2014/main" id="{64A856D3-24AB-829B-F40E-4ECE7B915E52}"/>
              </a:ext>
            </a:extLst>
          </p:cNvPr>
          <p:cNvSpPr txBox="1"/>
          <p:nvPr/>
        </p:nvSpPr>
        <p:spPr>
          <a:xfrm>
            <a:off x="1635274" y="3683393"/>
            <a:ext cx="220393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E3570"/>
                </a:solidFill>
                <a:effectLst/>
                <a:uLnTx/>
                <a:uFillTx/>
                <a:latin typeface="Gill Sans MT" panose="020B0502020104020203" pitchFamily="34" charset="0"/>
                <a:cs typeface="Arial" panose="020B0604020202020204" pitchFamily="34" charset="0"/>
              </a:rPr>
              <a:t>Tailored Solution Approach </a:t>
            </a:r>
          </a:p>
        </p:txBody>
      </p:sp>
      <p:sp>
        <p:nvSpPr>
          <p:cNvPr id="210" name="TextBox 209">
            <a:extLst>
              <a:ext uri="{FF2B5EF4-FFF2-40B4-BE49-F238E27FC236}">
                <a16:creationId xmlns:a16="http://schemas.microsoft.com/office/drawing/2014/main" id="{68546515-E89D-D934-070B-FDCE0A7BA5EB}"/>
              </a:ext>
            </a:extLst>
          </p:cNvPr>
          <p:cNvSpPr txBox="1"/>
          <p:nvPr/>
        </p:nvSpPr>
        <p:spPr>
          <a:xfrm>
            <a:off x="1657351" y="5202019"/>
            <a:ext cx="218185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r" defTabSz="914400">
              <a:defRPr/>
            </a:pPr>
            <a:r>
              <a:rPr lang="en-US" sz="1200" kern="0" dirty="0">
                <a:latin typeface="Gill Sans MT" panose="020B0502020104020203" pitchFamily="34" charset="0"/>
                <a:cs typeface="Arial" panose="020B0604020202020204" pitchFamily="34" charset="0"/>
              </a:rPr>
              <a:t>Identified Full Stack &gt;net Developers to start the project asap. Working with delivery team for resource fulfillment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Gill Sans MT" panose="020B0502020104020203" pitchFamily="34" charset="0"/>
              <a:cs typeface="Arial" panose="020B0604020202020204" pitchFamily="34" charset="0"/>
            </a:endParaRPr>
          </a:p>
        </p:txBody>
      </p:sp>
      <p:sp>
        <p:nvSpPr>
          <p:cNvPr id="211" name="TextBox 210">
            <a:extLst>
              <a:ext uri="{FF2B5EF4-FFF2-40B4-BE49-F238E27FC236}">
                <a16:creationId xmlns:a16="http://schemas.microsoft.com/office/drawing/2014/main" id="{E188DA1E-7D80-522B-CC24-EECFA9AF1019}"/>
              </a:ext>
            </a:extLst>
          </p:cNvPr>
          <p:cNvSpPr txBox="1"/>
          <p:nvPr/>
        </p:nvSpPr>
        <p:spPr>
          <a:xfrm>
            <a:off x="2016996" y="4979083"/>
            <a:ext cx="18222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E3570"/>
                </a:solidFill>
                <a:effectLst/>
                <a:uLnTx/>
                <a:uFillTx/>
                <a:latin typeface="Gill Sans MT" panose="020B0502020104020203" pitchFamily="34" charset="0"/>
                <a:cs typeface="Arial" panose="020B0604020202020204" pitchFamily="34" charset="0"/>
              </a:rPr>
              <a:t>A Team Readiness</a:t>
            </a:r>
          </a:p>
        </p:txBody>
      </p:sp>
    </p:spTree>
    <p:extLst>
      <p:ext uri="{BB962C8B-B14F-4D97-AF65-F5344CB8AC3E}">
        <p14:creationId xmlns:p14="http://schemas.microsoft.com/office/powerpoint/2010/main" val="16120212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1DF824F-71C3-4EF1-99CC-615E2E1FCEC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02017" y="165928"/>
            <a:ext cx="7903758" cy="596072"/>
          </a:xfrm>
        </p:spPr>
        <p:txBody>
          <a:bodyPr/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IN" cap="none" dirty="0">
                <a:solidFill>
                  <a:schemeClr val="accent5">
                    <a:lumMod val="50000"/>
                  </a:schemeClr>
                </a:solidFill>
              </a:rPr>
              <a:t>IP Management- Scope &amp; Understanding 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072D95E-66D5-F772-88A7-20F2BDF7CA2B}"/>
              </a:ext>
            </a:extLst>
          </p:cNvPr>
          <p:cNvSpPr txBox="1"/>
          <p:nvPr/>
        </p:nvSpPr>
        <p:spPr>
          <a:xfrm>
            <a:off x="1609282" y="2046711"/>
            <a:ext cx="153162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>
                <a:solidFill>
                  <a:schemeClr val="bg1"/>
                </a:solidFill>
                <a:latin typeface="Gill Sans MT" panose="020B0502020104020203" pitchFamily="34" charset="0"/>
              </a:rPr>
              <a:t>In Scope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8BC7E35-9F79-4919-8F3E-A5D2EC5E501A}"/>
              </a:ext>
            </a:extLst>
          </p:cNvPr>
          <p:cNvSpPr/>
          <p:nvPr/>
        </p:nvSpPr>
        <p:spPr>
          <a:xfrm>
            <a:off x="1874665" y="2819056"/>
            <a:ext cx="192206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6213" indent="-176213"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200">
                <a:solidFill>
                  <a:schemeClr val="bg1"/>
                </a:solidFill>
                <a:latin typeface="Gill Sans MT" panose="020B0502020104020203" pitchFamily="34" charset="0"/>
              </a:rPr>
              <a:t>This is a placeholder text. All phrases can be replaced with your own text.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B3BBA8E1-A9BE-A581-DD4B-2EBE8CA7AFE7}"/>
              </a:ext>
            </a:extLst>
          </p:cNvPr>
          <p:cNvSpPr/>
          <p:nvPr/>
        </p:nvSpPr>
        <p:spPr>
          <a:xfrm>
            <a:off x="5933018" y="2217628"/>
            <a:ext cx="6016621" cy="385559"/>
          </a:xfrm>
          <a:prstGeom prst="rect">
            <a:avLst/>
          </a:prstGeom>
          <a:solidFill>
            <a:srgbClr val="6DC24B"/>
          </a:solidFill>
          <a:ln w="25400" cap="flat" cmpd="sng" algn="ctr">
            <a:noFill/>
            <a:prstDash val="solid"/>
          </a:ln>
          <a:effectLst/>
        </p:spPr>
        <p:txBody>
          <a:bodyPr lIns="182880" tIns="182880" rIns="182880" bIns="182880" rtlCol="0" anchor="ctr"/>
          <a:lstStyle/>
          <a:p>
            <a:r>
              <a:rPr lang="en-US" sz="1400" b="1" kern="0">
                <a:solidFill>
                  <a:schemeClr val="bg1"/>
                </a:solidFill>
                <a:latin typeface="Gill Sans MT" panose="020B0502020104020203" pitchFamily="34" charset="0"/>
                <a:ea typeface=""/>
                <a:cs typeface="Segoe UI"/>
              </a:rPr>
              <a:t>Phase 1 :  Technology Stack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E61B3828-A952-0C48-A420-BB75EA98B07A}"/>
              </a:ext>
            </a:extLst>
          </p:cNvPr>
          <p:cNvSpPr/>
          <p:nvPr/>
        </p:nvSpPr>
        <p:spPr>
          <a:xfrm>
            <a:off x="5922433" y="2616559"/>
            <a:ext cx="6027206" cy="206698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lIns="182880" tIns="182880" rIns="182880" bIns="182880" rtlCol="0" anchor="t" anchorCtr="0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Gill Sans MT" panose="020B0502020104020203" pitchFamily="34" charset="0"/>
                <a:cs typeface="Segoe UI"/>
              </a:rPr>
              <a:t>.NET Core (API + Business Logic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Gill Sans MT" panose="020B0502020104020203" pitchFamily="34" charset="0"/>
                <a:cs typeface="Segoe UI"/>
              </a:rPr>
              <a:t>Angular  (UI screens)</a:t>
            </a:r>
            <a:endParaRPr lang="en-US" sz="1400" dirty="0">
              <a:latin typeface="Gill Sans MT" panose="020B0502020104020203" pitchFamily="34" charset="0"/>
            </a:endParaRPr>
          </a:p>
          <a:p>
            <a:pPr marL="285750" indent="-285750">
              <a:buFont typeface="Arial,Sans-Serif" panose="020B0604020202020204" pitchFamily="34" charset="0"/>
              <a:buChar char="•"/>
            </a:pPr>
            <a:r>
              <a:rPr lang="en-US" sz="1400" dirty="0">
                <a:latin typeface="Gill Sans MT" panose="020B0502020104020203" pitchFamily="34" charset="0"/>
                <a:cs typeface="Segoe UI"/>
              </a:rPr>
              <a:t>Azure Cosmos DB</a:t>
            </a:r>
          </a:p>
          <a:p>
            <a:pPr marL="285750" indent="-285750">
              <a:buFont typeface="Arial,Sans-Serif" panose="020B0604020202020204" pitchFamily="34" charset="0"/>
              <a:buChar char="•"/>
            </a:pPr>
            <a:r>
              <a:rPr lang="en-US" sz="1400" dirty="0">
                <a:latin typeface="Gill Sans MT" panose="020B0502020104020203" pitchFamily="34" charset="0"/>
                <a:cs typeface="Segoe UI"/>
              </a:rPr>
              <a:t>ADO</a:t>
            </a:r>
          </a:p>
          <a:p>
            <a:pPr marL="285750" indent="-285750">
              <a:buFont typeface="Arial,Sans-Serif" panose="020B0604020202020204" pitchFamily="34" charset="0"/>
              <a:buChar char="•"/>
            </a:pPr>
            <a:r>
              <a:rPr lang="en-US" sz="1400" dirty="0">
                <a:latin typeface="Gill Sans MT" panose="020B0502020104020203" pitchFamily="34" charset="0"/>
                <a:cs typeface="Segoe UI"/>
              </a:rPr>
              <a:t>Azure RBAC Roles</a:t>
            </a:r>
          </a:p>
          <a:p>
            <a:pPr marL="285750" indent="-285750">
              <a:buFont typeface="Arial,Sans-Serif" panose="020B0604020202020204" pitchFamily="34" charset="0"/>
              <a:buChar char="•"/>
            </a:pPr>
            <a:r>
              <a:rPr lang="en-US" sz="1400" dirty="0" err="1">
                <a:latin typeface="Gill Sans MT" panose="020B0502020104020203" pitchFamily="34" charset="0"/>
                <a:cs typeface="Segoe UI"/>
              </a:rPr>
              <a:t>Sharepoint</a:t>
            </a:r>
            <a:endParaRPr lang="en-US" sz="1400" dirty="0">
              <a:latin typeface="Gill Sans MT" panose="020B0502020104020203" pitchFamily="34" charset="0"/>
              <a:cs typeface="Segoe UI"/>
            </a:endParaRP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highlight>
                <a:srgbClr val="FFFF00"/>
              </a:highlight>
              <a:uLnTx/>
              <a:uFillTx/>
              <a:latin typeface="Gill Sans MT" panose="020B0502020104020203" pitchFamily="34" charset="0"/>
              <a:ea typeface=""/>
              <a:cs typeface="Segoe UI" panose="020B0502040204020203" pitchFamily="34" charset="0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BB8DBC4-8C46-D688-25C6-D973E13C3AFE}"/>
              </a:ext>
            </a:extLst>
          </p:cNvPr>
          <p:cNvSpPr/>
          <p:nvPr/>
        </p:nvSpPr>
        <p:spPr>
          <a:xfrm>
            <a:off x="347133" y="2217628"/>
            <a:ext cx="5229225" cy="385559"/>
          </a:xfrm>
          <a:prstGeom prst="rect">
            <a:avLst/>
          </a:prstGeom>
          <a:solidFill>
            <a:srgbClr val="0E3570"/>
          </a:solidFill>
          <a:ln w="25400" cap="flat" cmpd="sng" algn="ctr">
            <a:noFill/>
            <a:prstDash val="solid"/>
          </a:ln>
          <a:effectLst/>
        </p:spPr>
        <p:txBody>
          <a:bodyPr lIns="182880" tIns="182880" rIns="182880" bIns="182880" rtlCol="0" anchor="ctr"/>
          <a:lstStyle/>
          <a:p>
            <a:pPr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Gill Sans MT" panose="020B0502020104020203" pitchFamily="34" charset="0"/>
                <a:ea typeface=""/>
                <a:cs typeface="Segoe UI"/>
              </a:rPr>
              <a:t>Phase 1 :  SCOPE: Descriptive and Diagnostic</a:t>
            </a:r>
            <a:r>
              <a:rPr lang="en-US" sz="1400" b="1" kern="0" dirty="0">
                <a:solidFill>
                  <a:schemeClr val="bg1"/>
                </a:solidFill>
                <a:latin typeface="Gill Sans MT" panose="020B0502020104020203" pitchFamily="34" charset="0"/>
                <a:ea typeface=""/>
                <a:cs typeface="Segoe UI"/>
              </a:rPr>
              <a:t>  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Gill Sans MT" panose="020B0502020104020203" pitchFamily="34" charset="0"/>
                <a:ea typeface=""/>
                <a:cs typeface="Segoe UI"/>
              </a:rPr>
              <a:t>Dashboard</a:t>
            </a:r>
            <a:endParaRPr lang="en-US" sz="14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Gill Sans MT" panose="020B0502020104020203" pitchFamily="34" charset="0"/>
              <a:ea typeface=""/>
              <a:cs typeface="Segoe UI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B47C0035-AF36-7BC0-6EB9-74A6D1D65CDA}"/>
              </a:ext>
            </a:extLst>
          </p:cNvPr>
          <p:cNvSpPr/>
          <p:nvPr/>
        </p:nvSpPr>
        <p:spPr>
          <a:xfrm>
            <a:off x="347133" y="2603187"/>
            <a:ext cx="5229225" cy="362295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lIns="182880" tIns="182880" rIns="182880" bIns="182880" rtlCol="0" anchor="t" anchorCtr="0"/>
          <a:lstStyle/>
          <a:p>
            <a:pPr>
              <a:defRPr/>
            </a:pPr>
            <a:r>
              <a:rPr lang="en-US" sz="1400" kern="0" dirty="0">
                <a:latin typeface="Gill Sans MT" panose="020B0502020104020203" pitchFamily="34" charset="0"/>
                <a:cs typeface="Segoe UI"/>
              </a:rPr>
              <a:t>Develop PoC considering the following </a:t>
            </a:r>
            <a:endParaRPr lang="en-US" sz="1400" dirty="0">
              <a:latin typeface="Gill Sans MT" panose="020B0502020104020203" pitchFamily="34" charset="0"/>
            </a:endParaRPr>
          </a:p>
          <a:p>
            <a:pPr marL="342900" lvl="0" indent="-342900">
              <a:buFont typeface="+mj-lt"/>
              <a:buAutoNum type="arabicPeriod"/>
            </a:pPr>
            <a:r>
              <a:rPr lang="en-US" sz="1400" dirty="0">
                <a:latin typeface="Gill Sans MT" panose="020B0502020104020203" pitchFamily="34" charset="0"/>
                <a:cs typeface="Sanskrit Text" panose="020B0502040204020203" pitchFamily="18" charset="0"/>
              </a:rPr>
              <a:t>To develop an UI to bring the visibility about the availability or non availability of IPs to the CNSS team or other teams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1400" dirty="0">
                <a:latin typeface="Gill Sans MT" panose="020B0502020104020203" pitchFamily="34" charset="0"/>
                <a:cs typeface="Sanskrit Text" panose="020B0502040204020203" pitchFamily="18" charset="0"/>
              </a:rPr>
              <a:t>Ability to import IPs (csv import) from </a:t>
            </a:r>
            <a:r>
              <a:rPr lang="en-US" sz="1400" dirty="0" err="1">
                <a:latin typeface="Gill Sans MT" panose="020B0502020104020203" pitchFamily="34" charset="0"/>
                <a:cs typeface="Sanskrit Text" panose="020B0502040204020203" pitchFamily="18" charset="0"/>
              </a:rPr>
              <a:t>Sharepoint</a:t>
            </a:r>
            <a:endParaRPr lang="en-US" sz="1400" dirty="0">
              <a:latin typeface="Gill Sans MT" panose="020B0502020104020203" pitchFamily="34" charset="0"/>
              <a:cs typeface="Sanskrit Text" panose="020B0502040204020203" pitchFamily="18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1400" dirty="0">
                <a:latin typeface="Gill Sans MT" panose="020B0502020104020203" pitchFamily="34" charset="0"/>
                <a:cs typeface="Sanskrit Text" panose="020B0502040204020203" pitchFamily="18" charset="0"/>
              </a:rPr>
              <a:t>Tracking the allotment status of IPs based on different filter such as Subnet, Gateway </a:t>
            </a:r>
            <a:r>
              <a:rPr lang="en-US" sz="1400" dirty="0" err="1">
                <a:latin typeface="Gill Sans MT" panose="020B0502020104020203" pitchFamily="34" charset="0"/>
                <a:cs typeface="Sanskrit Text" panose="020B0502040204020203" pitchFamily="18" charset="0"/>
              </a:rPr>
              <a:t>etc</a:t>
            </a:r>
            <a:endParaRPr lang="en-US" sz="1400" dirty="0">
              <a:latin typeface="Gill Sans MT" panose="020B0502020104020203" pitchFamily="34" charset="0"/>
              <a:cs typeface="Sanskrit Text" panose="020B0502040204020203" pitchFamily="18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1400" dirty="0">
                <a:latin typeface="Gill Sans MT" panose="020B0502020104020203" pitchFamily="34" charset="0"/>
                <a:cs typeface="Sanskrit Text" panose="020B0502040204020203" pitchFamily="18" charset="0"/>
              </a:rPr>
              <a:t>IP Assignment to a subscription 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>
                <a:latin typeface="Gill Sans MT" panose="020B0502020104020203" pitchFamily="34" charset="0"/>
                <a:cs typeface="Sanskrit Text" panose="020B0502040204020203" pitchFamily="18" charset="0"/>
              </a:rPr>
              <a:t>Provisioning Dashboard representing the IP details based on different filter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1400" dirty="0">
                <a:latin typeface="Gill Sans MT" panose="020B0502020104020203" pitchFamily="34" charset="0"/>
                <a:cs typeface="Sanskrit Text" panose="020B0502040204020203" pitchFamily="18" charset="0"/>
              </a:rPr>
              <a:t>Tracking the history of any given IP at any point of time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1400" dirty="0">
                <a:latin typeface="Gill Sans MT" panose="020B0502020104020203" pitchFamily="34" charset="0"/>
                <a:cs typeface="Sanskrit Text" panose="020B0502040204020203" pitchFamily="18" charset="0"/>
              </a:rPr>
              <a:t>Subscription, Gateway based report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1400" dirty="0">
                <a:latin typeface="Gill Sans MT" panose="020B0502020104020203" pitchFamily="34" charset="0"/>
                <a:cs typeface="Sanskrit Text" panose="020B0502040204020203" pitchFamily="18" charset="0"/>
              </a:rPr>
              <a:t>Alerts to stakeholders on assignment of IPs to a subscription</a:t>
            </a:r>
          </a:p>
          <a:p>
            <a:pPr marL="342900" lvl="0" indent="-342900">
              <a:buFont typeface="+mj-lt"/>
              <a:buAutoNum type="arabicPeriod"/>
            </a:pPr>
            <a:endParaRPr lang="en-US" sz="1400" dirty="0">
              <a:latin typeface="Gill Sans MT" panose="020B0502020104020203" pitchFamily="34" charset="0"/>
              <a:cs typeface="Sanskrit Text" panose="020B0502040204020203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endParaRPr lang="en-US" sz="1400" dirty="0">
              <a:latin typeface="Gill Sans MT" panose="020B0502020104020203" pitchFamily="34" charset="0"/>
              <a:cs typeface="Sanskrit Text" panose="020B0502040204020203" pitchFamily="18" charset="0"/>
            </a:endParaRPr>
          </a:p>
          <a:p>
            <a:pPr marR="0" lvl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Gill Sans MT" panose="020B0502020104020203" pitchFamily="34" charset="0"/>
              <a:ea typeface=""/>
              <a:cs typeface="Segoe UI" panose="020B0502040204020203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5C70F43-F491-A2D3-BD08-7C7794B987F5}"/>
              </a:ext>
            </a:extLst>
          </p:cNvPr>
          <p:cNvSpPr txBox="1"/>
          <p:nvPr/>
        </p:nvSpPr>
        <p:spPr>
          <a:xfrm>
            <a:off x="202018" y="916571"/>
            <a:ext cx="11885208" cy="1077218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US" sz="1600" dirty="0">
                <a:latin typeface="Gill Sans MT" panose="020B0502020104020203" pitchFamily="34" charset="0"/>
                <a:cs typeface="Segoe UI"/>
              </a:rPr>
              <a:t>We propose to follow a phased solution approach to meet business objectives and the current proposal covers the estimate for Phase 1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Gill Sans MT" panose="020B0502020104020203" pitchFamily="34" charset="0"/>
                <a:cs typeface="Segoe UI"/>
              </a:rPr>
              <a:t>Phase –1 is focused on providing Web UI for CNSS team for IP Assignment (Manual) based on available IPs. 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Gill Sans MT" panose="020B0502020104020203" pitchFamily="34" charset="0"/>
                <a:cs typeface="Segoe UI"/>
              </a:rPr>
              <a:t>Phase –2 is focused on Automated IP splitting based on Block size and IP assignment</a:t>
            </a:r>
          </a:p>
          <a:p>
            <a:r>
              <a:rPr lang="en-US" sz="1600" dirty="0">
                <a:latin typeface="Gill Sans MT" panose="020B0502020104020203" pitchFamily="34" charset="0"/>
                <a:cs typeface="Segoe UI"/>
              </a:rPr>
              <a:t>The scope and related assumptions and dependencies are as detailed below :</a:t>
            </a:r>
            <a:endParaRPr lang="en-US" sz="1600" dirty="0">
              <a:latin typeface="Gill Sans MT" panose="020B05020201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211123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dirty="0">
                <a:solidFill>
                  <a:schemeClr val="accent5">
                    <a:lumMod val="50000"/>
                  </a:schemeClr>
                </a:solidFill>
                <a:latin typeface="Gill Sans MT" panose="020B0502020104020203" pitchFamily="34" charset="0"/>
                <a:ea typeface="+mn-ea"/>
                <a:cs typeface="+mn-cs"/>
                <a:sym typeface="Gill Sans MT" panose="020B0502020104020203" pitchFamily="34" charset="0"/>
              </a:rPr>
              <a:t>Proposed Solution Touchpoints (Phase 1) – To be updated</a:t>
            </a:r>
          </a:p>
        </p:txBody>
      </p:sp>
      <p:pic>
        <p:nvPicPr>
          <p:cNvPr id="125" name="Picture 2" descr="osa svg icon security users group blue green">
            <a:extLst>
              <a:ext uri="{FF2B5EF4-FFF2-40B4-BE49-F238E27FC236}">
                <a16:creationId xmlns:a16="http://schemas.microsoft.com/office/drawing/2014/main" id="{BA47E7DA-9F72-DFEB-0D84-4F13DC7EA7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394" y="2229433"/>
            <a:ext cx="884222" cy="884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2" name="Picture 131">
            <a:extLst>
              <a:ext uri="{FF2B5EF4-FFF2-40B4-BE49-F238E27FC236}">
                <a16:creationId xmlns:a16="http://schemas.microsoft.com/office/drawing/2014/main" id="{9BA2EBA7-92A1-73BD-7B91-13C8D5694C5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381617" y="4079759"/>
            <a:ext cx="1208721" cy="1208721"/>
          </a:xfrm>
          <a:prstGeom prst="rect">
            <a:avLst/>
          </a:prstGeom>
        </p:spPr>
      </p:pic>
      <p:pic>
        <p:nvPicPr>
          <p:cNvPr id="133" name="Picture 132">
            <a:extLst>
              <a:ext uri="{FF2B5EF4-FFF2-40B4-BE49-F238E27FC236}">
                <a16:creationId xmlns:a16="http://schemas.microsoft.com/office/drawing/2014/main" id="{D492673E-6530-C60F-8480-C6365834416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893608" y="4206486"/>
            <a:ext cx="1192293" cy="1052619"/>
          </a:xfrm>
          <a:prstGeom prst="rect">
            <a:avLst/>
          </a:prstGeom>
        </p:spPr>
      </p:pic>
      <p:cxnSp>
        <p:nvCxnSpPr>
          <p:cNvPr id="135" name="Straight Arrow Connector 134">
            <a:extLst>
              <a:ext uri="{FF2B5EF4-FFF2-40B4-BE49-F238E27FC236}">
                <a16:creationId xmlns:a16="http://schemas.microsoft.com/office/drawing/2014/main" id="{BBB1E038-3FAB-20BC-5A9D-E64FDFC3576E}"/>
              </a:ext>
            </a:extLst>
          </p:cNvPr>
          <p:cNvCxnSpPr>
            <a:cxnSpLocks/>
          </p:cNvCxnSpPr>
          <p:nvPr/>
        </p:nvCxnSpPr>
        <p:spPr>
          <a:xfrm>
            <a:off x="2449890" y="2791416"/>
            <a:ext cx="0" cy="1243378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42" name="Rectangle 141">
            <a:extLst>
              <a:ext uri="{FF2B5EF4-FFF2-40B4-BE49-F238E27FC236}">
                <a16:creationId xmlns:a16="http://schemas.microsoft.com/office/drawing/2014/main" id="{459891FC-5A7C-36FC-0928-C979D8341B4C}"/>
              </a:ext>
            </a:extLst>
          </p:cNvPr>
          <p:cNvSpPr/>
          <p:nvPr/>
        </p:nvSpPr>
        <p:spPr>
          <a:xfrm>
            <a:off x="1628400" y="5177334"/>
            <a:ext cx="1670985" cy="577140"/>
          </a:xfrm>
          <a:prstGeom prst="rect">
            <a:avLst/>
          </a:prstGeom>
        </p:spPr>
        <p:txBody>
          <a:bodyPr wrap="square" lIns="90229" tIns="45114" rIns="90229" bIns="45114" anchor="t">
            <a:spAutoFit/>
          </a:bodyPr>
          <a:lstStyle/>
          <a:p>
            <a:pPr>
              <a:defRPr sz="1800" b="0">
                <a:solidFill>
                  <a:srgbClr val="000000"/>
                </a:solidFill>
              </a:defRPr>
            </a:pPr>
            <a:r>
              <a:rPr lang="en-IN" sz="1579" b="1">
                <a:solidFill>
                  <a:srgbClr val="4277BB"/>
                </a:solidFill>
                <a:cs typeface="Arial"/>
              </a:rPr>
              <a:t>Extended search (Detail view)</a:t>
            </a:r>
            <a:endParaRPr lang="en-US" sz="1776" b="1">
              <a:solidFill>
                <a:srgbClr val="000000"/>
              </a:solidFill>
            </a:endParaRPr>
          </a:p>
        </p:txBody>
      </p:sp>
      <p:cxnSp>
        <p:nvCxnSpPr>
          <p:cNvPr id="212" name="Straight Arrow Connector 211">
            <a:extLst>
              <a:ext uri="{FF2B5EF4-FFF2-40B4-BE49-F238E27FC236}">
                <a16:creationId xmlns:a16="http://schemas.microsoft.com/office/drawing/2014/main" id="{D2F6721F-C64F-FEB9-B051-78C189924F94}"/>
              </a:ext>
            </a:extLst>
          </p:cNvPr>
          <p:cNvCxnSpPr>
            <a:cxnSpLocks/>
            <a:stCxn id="133" idx="3"/>
          </p:cNvCxnSpPr>
          <p:nvPr/>
        </p:nvCxnSpPr>
        <p:spPr>
          <a:xfrm>
            <a:off x="3085901" y="4732796"/>
            <a:ext cx="1057014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58" name="Rectangle 57">
            <a:extLst>
              <a:ext uri="{FF2B5EF4-FFF2-40B4-BE49-F238E27FC236}">
                <a16:creationId xmlns:a16="http://schemas.microsoft.com/office/drawing/2014/main" id="{6B632ADE-A170-0749-18D7-E0D5696165B1}"/>
              </a:ext>
            </a:extLst>
          </p:cNvPr>
          <p:cNvSpPr/>
          <p:nvPr/>
        </p:nvSpPr>
        <p:spPr>
          <a:xfrm>
            <a:off x="7754832" y="4973904"/>
            <a:ext cx="1281341" cy="334124"/>
          </a:xfrm>
          <a:prstGeom prst="rect">
            <a:avLst/>
          </a:prstGeom>
        </p:spPr>
        <p:txBody>
          <a:bodyPr wrap="square" lIns="90229" tIns="45114" rIns="90229" bIns="45114" anchor="t">
            <a:spAutoFit/>
          </a:bodyPr>
          <a:lstStyle/>
          <a:p>
            <a:pPr algn="ctr">
              <a:defRPr sz="1800" b="0">
                <a:solidFill>
                  <a:srgbClr val="000000"/>
                </a:solidFill>
              </a:defRPr>
            </a:pPr>
            <a:r>
              <a:rPr lang="en-IN" sz="1579" b="1" dirty="0">
                <a:solidFill>
                  <a:srgbClr val="4277BB"/>
                </a:solidFill>
                <a:cs typeface="Arial"/>
              </a:rPr>
              <a:t>IP Validatio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D9A9AA5-59F7-ECB3-2965-BC6F98008243}"/>
              </a:ext>
            </a:extLst>
          </p:cNvPr>
          <p:cNvSpPr/>
          <p:nvPr/>
        </p:nvSpPr>
        <p:spPr>
          <a:xfrm>
            <a:off x="3225144" y="5037745"/>
            <a:ext cx="2496968" cy="334124"/>
          </a:xfrm>
          <a:prstGeom prst="rect">
            <a:avLst/>
          </a:prstGeom>
        </p:spPr>
        <p:txBody>
          <a:bodyPr wrap="square" lIns="90229" tIns="45114" rIns="90229" bIns="45114" anchor="t">
            <a:spAutoFit/>
          </a:bodyPr>
          <a:lstStyle/>
          <a:p>
            <a:pPr algn="ctr">
              <a:defRPr sz="1800" b="0">
                <a:solidFill>
                  <a:srgbClr val="000000"/>
                </a:solidFill>
              </a:defRPr>
            </a:pPr>
            <a:r>
              <a:rPr lang="en-IN" sz="1579" b="1" dirty="0">
                <a:solidFill>
                  <a:srgbClr val="4277BB"/>
                </a:solidFill>
                <a:cs typeface="Arial"/>
              </a:rPr>
              <a:t>Azure Cosmos DB</a:t>
            </a: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606A2E2E-A311-EA15-EE52-7C60BED67D2A}"/>
              </a:ext>
            </a:extLst>
          </p:cNvPr>
          <p:cNvCxnSpPr>
            <a:cxnSpLocks/>
            <a:stCxn id="132" idx="1"/>
          </p:cNvCxnSpPr>
          <p:nvPr/>
        </p:nvCxnSpPr>
        <p:spPr>
          <a:xfrm flipH="1">
            <a:off x="8614576" y="4684120"/>
            <a:ext cx="1767041" cy="2296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5E040AEC-DD7B-0C0B-370D-C0461BC01FEC}"/>
              </a:ext>
            </a:extLst>
          </p:cNvPr>
          <p:cNvSpPr txBox="1"/>
          <p:nvPr/>
        </p:nvSpPr>
        <p:spPr>
          <a:xfrm>
            <a:off x="5379994" y="4409818"/>
            <a:ext cx="223117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000" dirty="0"/>
              <a:t>Check if the Ips are already allocated 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3C45A846-F823-C169-F96C-36D3F5B326F4}"/>
              </a:ext>
            </a:extLst>
          </p:cNvPr>
          <p:cNvSpPr txBox="1"/>
          <p:nvPr/>
        </p:nvSpPr>
        <p:spPr>
          <a:xfrm>
            <a:off x="4945682" y="4733912"/>
            <a:ext cx="28257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000" dirty="0"/>
              <a:t>Importing the unallocated IPs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94F02C8F-D2A6-B9A2-413A-21DFB35D03D3}"/>
              </a:ext>
            </a:extLst>
          </p:cNvPr>
          <p:cNvSpPr txBox="1"/>
          <p:nvPr/>
        </p:nvSpPr>
        <p:spPr>
          <a:xfrm>
            <a:off x="8720627" y="3994353"/>
            <a:ext cx="176025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/>
              <a:t>Upload the documen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1000"/>
              <a:t>One time bulk uploa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1000"/>
              <a:t>Incremental upload based on agreed frequency/ time</a:t>
            </a:r>
          </a:p>
        </p:txBody>
      </p: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1E629962-3B9A-CA2D-15CF-4B85A8B0C679}"/>
              </a:ext>
            </a:extLst>
          </p:cNvPr>
          <p:cNvCxnSpPr>
            <a:cxnSpLocks/>
          </p:cNvCxnSpPr>
          <p:nvPr/>
        </p:nvCxnSpPr>
        <p:spPr>
          <a:xfrm flipH="1" flipV="1">
            <a:off x="5002021" y="4720757"/>
            <a:ext cx="3002101" cy="602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42" name="Connector: Elbow 41">
            <a:extLst>
              <a:ext uri="{FF2B5EF4-FFF2-40B4-BE49-F238E27FC236}">
                <a16:creationId xmlns:a16="http://schemas.microsoft.com/office/drawing/2014/main" id="{B6E6953A-7470-B867-56A7-5317B29D5921}"/>
              </a:ext>
            </a:extLst>
          </p:cNvPr>
          <p:cNvCxnSpPr>
            <a:cxnSpLocks/>
            <a:stCxn id="4" idx="2"/>
          </p:cNvCxnSpPr>
          <p:nvPr/>
        </p:nvCxnSpPr>
        <p:spPr>
          <a:xfrm rot="5400000" flipH="1" flipV="1">
            <a:off x="6211707" y="2969001"/>
            <a:ext cx="664789" cy="4140948"/>
          </a:xfrm>
          <a:prstGeom prst="bentConnector4">
            <a:avLst>
              <a:gd name="adj1" fmla="val -34387"/>
              <a:gd name="adj2" fmla="val 105520"/>
            </a:avLst>
          </a:prstGeom>
          <a:ln>
            <a:headEnd type="triangle"/>
            <a:tailEnd type="non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48" name="TextBox 47">
            <a:extLst>
              <a:ext uri="{FF2B5EF4-FFF2-40B4-BE49-F238E27FC236}">
                <a16:creationId xmlns:a16="http://schemas.microsoft.com/office/drawing/2014/main" id="{DB5B1D70-5A2B-3FD5-A7C7-7188B597B467}"/>
              </a:ext>
            </a:extLst>
          </p:cNvPr>
          <p:cNvSpPr txBox="1"/>
          <p:nvPr/>
        </p:nvSpPr>
        <p:spPr>
          <a:xfrm>
            <a:off x="4312077" y="5609404"/>
            <a:ext cx="46717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000"/>
              <a:t>Log the record for bulk and incremental upload for performing E2E reconciliation 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6E4FDF3C-B16D-77F4-533D-B67DA59952DB}"/>
              </a:ext>
            </a:extLst>
          </p:cNvPr>
          <p:cNvSpPr txBox="1"/>
          <p:nvPr/>
        </p:nvSpPr>
        <p:spPr>
          <a:xfrm>
            <a:off x="2963783" y="4189466"/>
            <a:ext cx="117023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000" dirty="0"/>
              <a:t>Render the table details based on search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837D337D-FC25-1D9F-C76C-35F16E960C85}"/>
              </a:ext>
            </a:extLst>
          </p:cNvPr>
          <p:cNvSpPr txBox="1"/>
          <p:nvPr/>
        </p:nvSpPr>
        <p:spPr>
          <a:xfrm>
            <a:off x="1308490" y="3248111"/>
            <a:ext cx="117023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000" dirty="0"/>
              <a:t>Filter based Unallocated  IP search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E0EE16F-8471-FC78-D22A-F312E4003F6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007558" y="4261974"/>
            <a:ext cx="656650" cy="668633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B27EA81-EDA7-54B3-FE63-2CAD41F4B56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072224" y="4075502"/>
            <a:ext cx="954519" cy="889684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63A948F3-2AB6-964E-0343-A6418428A30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68598" y="899672"/>
            <a:ext cx="1149760" cy="985081"/>
          </a:xfrm>
          <a:prstGeom prst="rect">
            <a:avLst/>
          </a:prstGeom>
        </p:spPr>
      </p:pic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142895F6-04BF-90A4-E7EE-BAB856149E36}"/>
              </a:ext>
            </a:extLst>
          </p:cNvPr>
          <p:cNvCxnSpPr>
            <a:cxnSpLocks/>
          </p:cNvCxnSpPr>
          <p:nvPr/>
        </p:nvCxnSpPr>
        <p:spPr>
          <a:xfrm>
            <a:off x="1199616" y="2326824"/>
            <a:ext cx="851677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DBB1FDBD-10BA-EF8E-B486-0E92790A11FF}"/>
              </a:ext>
            </a:extLst>
          </p:cNvPr>
          <p:cNvCxnSpPr>
            <a:cxnSpLocks/>
          </p:cNvCxnSpPr>
          <p:nvPr/>
        </p:nvCxnSpPr>
        <p:spPr>
          <a:xfrm>
            <a:off x="1022528" y="1707819"/>
            <a:ext cx="0" cy="584491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32" name="Picture 31">
            <a:extLst>
              <a:ext uri="{FF2B5EF4-FFF2-40B4-BE49-F238E27FC236}">
                <a16:creationId xmlns:a16="http://schemas.microsoft.com/office/drawing/2014/main" id="{7463C4C0-000F-729B-6448-3CA597F3EAB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999724" y="1738571"/>
            <a:ext cx="1217657" cy="1030325"/>
          </a:xfrm>
          <a:prstGeom prst="rect">
            <a:avLst/>
          </a:prstGeom>
        </p:spPr>
      </p:pic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2B6BF229-6E0B-B66B-A9D1-53CE4E9222BB}"/>
              </a:ext>
            </a:extLst>
          </p:cNvPr>
          <p:cNvCxnSpPr>
            <a:cxnSpLocks/>
          </p:cNvCxnSpPr>
          <p:nvPr/>
        </p:nvCxnSpPr>
        <p:spPr>
          <a:xfrm flipV="1">
            <a:off x="2586912" y="2806786"/>
            <a:ext cx="0" cy="120936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53" name="Picture 52">
            <a:extLst>
              <a:ext uri="{FF2B5EF4-FFF2-40B4-BE49-F238E27FC236}">
                <a16:creationId xmlns:a16="http://schemas.microsoft.com/office/drawing/2014/main" id="{D730EE03-D947-F56F-2AF2-B0F2C1FD44B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473627" y="1748716"/>
            <a:ext cx="656650" cy="668633"/>
          </a:xfrm>
          <a:prstGeom prst="rect">
            <a:avLst/>
          </a:prstGeom>
        </p:spPr>
      </p:pic>
      <p:sp>
        <p:nvSpPr>
          <p:cNvPr id="54" name="Rectangle 53">
            <a:extLst>
              <a:ext uri="{FF2B5EF4-FFF2-40B4-BE49-F238E27FC236}">
                <a16:creationId xmlns:a16="http://schemas.microsoft.com/office/drawing/2014/main" id="{1EF5E91D-04A2-16DB-786D-EFF9FF3FD88B}"/>
              </a:ext>
            </a:extLst>
          </p:cNvPr>
          <p:cNvSpPr/>
          <p:nvPr/>
        </p:nvSpPr>
        <p:spPr>
          <a:xfrm>
            <a:off x="3950164" y="1366111"/>
            <a:ext cx="1703575" cy="334124"/>
          </a:xfrm>
          <a:prstGeom prst="rect">
            <a:avLst/>
          </a:prstGeom>
        </p:spPr>
        <p:txBody>
          <a:bodyPr wrap="square" lIns="90229" tIns="45114" rIns="90229" bIns="45114" anchor="t">
            <a:spAutoFit/>
          </a:bodyPr>
          <a:lstStyle/>
          <a:p>
            <a:pPr algn="ctr">
              <a:defRPr sz="1800" b="0">
                <a:solidFill>
                  <a:srgbClr val="000000"/>
                </a:solidFill>
              </a:defRPr>
            </a:pPr>
            <a:r>
              <a:rPr lang="en-IN" sz="1579" b="1" dirty="0">
                <a:solidFill>
                  <a:srgbClr val="4277BB"/>
                </a:solidFill>
                <a:cs typeface="Arial"/>
              </a:rPr>
              <a:t>IP Assignment</a:t>
            </a:r>
          </a:p>
        </p:txBody>
      </p: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9959DA38-F0B0-5360-70F4-7E83C131CF64}"/>
              </a:ext>
            </a:extLst>
          </p:cNvPr>
          <p:cNvCxnSpPr>
            <a:cxnSpLocks/>
          </p:cNvCxnSpPr>
          <p:nvPr/>
        </p:nvCxnSpPr>
        <p:spPr>
          <a:xfrm>
            <a:off x="3299385" y="2082461"/>
            <a:ext cx="1081784" cy="571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E11187D0-FE38-4D89-EDD2-C11933E25C9A}"/>
              </a:ext>
            </a:extLst>
          </p:cNvPr>
          <p:cNvCxnSpPr>
            <a:cxnSpLocks/>
          </p:cNvCxnSpPr>
          <p:nvPr/>
        </p:nvCxnSpPr>
        <p:spPr>
          <a:xfrm>
            <a:off x="4669629" y="2492309"/>
            <a:ext cx="0" cy="154248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2049" name="TextBox 2048">
            <a:extLst>
              <a:ext uri="{FF2B5EF4-FFF2-40B4-BE49-F238E27FC236}">
                <a16:creationId xmlns:a16="http://schemas.microsoft.com/office/drawing/2014/main" id="{486D1B78-C3A6-1DA5-8B1B-A6CF40E75165}"/>
              </a:ext>
            </a:extLst>
          </p:cNvPr>
          <p:cNvSpPr txBox="1"/>
          <p:nvPr/>
        </p:nvSpPr>
        <p:spPr>
          <a:xfrm>
            <a:off x="2739312" y="3361767"/>
            <a:ext cx="117023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000" dirty="0"/>
              <a:t>List of Unallocated  IP search </a:t>
            </a:r>
          </a:p>
        </p:txBody>
      </p:sp>
    </p:spTree>
    <p:extLst>
      <p:ext uri="{BB962C8B-B14F-4D97-AF65-F5344CB8AC3E}">
        <p14:creationId xmlns:p14="http://schemas.microsoft.com/office/powerpoint/2010/main" val="83919045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dirty="0">
                <a:solidFill>
                  <a:schemeClr val="accent5">
                    <a:lumMod val="50000"/>
                  </a:schemeClr>
                </a:solidFill>
                <a:latin typeface="Gill Sans MT" panose="020B0502020104020203" pitchFamily="34" charset="0"/>
                <a:ea typeface="+mn-ea"/>
                <a:cs typeface="+mn-cs"/>
                <a:sym typeface="Gill Sans MT" panose="020B0502020104020203" pitchFamily="34" charset="0"/>
              </a:rPr>
              <a:t>Proposed Solution Touchpoints (Phase 1) – To be updated</a:t>
            </a:r>
          </a:p>
        </p:txBody>
      </p:sp>
      <p:pic>
        <p:nvPicPr>
          <p:cNvPr id="125" name="Picture 2" descr="osa svg icon security users group blue green">
            <a:extLst>
              <a:ext uri="{FF2B5EF4-FFF2-40B4-BE49-F238E27FC236}">
                <a16:creationId xmlns:a16="http://schemas.microsoft.com/office/drawing/2014/main" id="{BA47E7DA-9F72-DFEB-0D84-4F13DC7EA7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9764" y="2275394"/>
            <a:ext cx="884222" cy="884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" name="Picture 132">
            <a:extLst>
              <a:ext uri="{FF2B5EF4-FFF2-40B4-BE49-F238E27FC236}">
                <a16:creationId xmlns:a16="http://schemas.microsoft.com/office/drawing/2014/main" id="{D492673E-6530-C60F-8480-C6365834416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49097" y="4206472"/>
            <a:ext cx="1192293" cy="1052619"/>
          </a:xfrm>
          <a:prstGeom prst="rect">
            <a:avLst/>
          </a:prstGeom>
        </p:spPr>
      </p:pic>
      <p:cxnSp>
        <p:nvCxnSpPr>
          <p:cNvPr id="135" name="Straight Arrow Connector 134">
            <a:extLst>
              <a:ext uri="{FF2B5EF4-FFF2-40B4-BE49-F238E27FC236}">
                <a16:creationId xmlns:a16="http://schemas.microsoft.com/office/drawing/2014/main" id="{BBB1E038-3FAB-20BC-5A9D-E64FDFC3576E}"/>
              </a:ext>
            </a:extLst>
          </p:cNvPr>
          <p:cNvCxnSpPr>
            <a:cxnSpLocks/>
          </p:cNvCxnSpPr>
          <p:nvPr/>
        </p:nvCxnSpPr>
        <p:spPr>
          <a:xfrm>
            <a:off x="2624796" y="2946088"/>
            <a:ext cx="0" cy="1243378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42" name="Rectangle 141">
            <a:extLst>
              <a:ext uri="{FF2B5EF4-FFF2-40B4-BE49-F238E27FC236}">
                <a16:creationId xmlns:a16="http://schemas.microsoft.com/office/drawing/2014/main" id="{459891FC-5A7C-36FC-0928-C979D8341B4C}"/>
              </a:ext>
            </a:extLst>
          </p:cNvPr>
          <p:cNvSpPr/>
          <p:nvPr/>
        </p:nvSpPr>
        <p:spPr>
          <a:xfrm>
            <a:off x="1789304" y="5257581"/>
            <a:ext cx="1670985" cy="334124"/>
          </a:xfrm>
          <a:prstGeom prst="rect">
            <a:avLst/>
          </a:prstGeom>
        </p:spPr>
        <p:txBody>
          <a:bodyPr wrap="square" lIns="90229" tIns="45114" rIns="90229" bIns="45114" anchor="t">
            <a:spAutoFit/>
          </a:bodyPr>
          <a:lstStyle/>
          <a:p>
            <a:pPr>
              <a:defRPr sz="1800" b="0">
                <a:solidFill>
                  <a:srgbClr val="000000"/>
                </a:solidFill>
              </a:defRPr>
            </a:pPr>
            <a:r>
              <a:rPr lang="en-IN" sz="1579" b="1" dirty="0">
                <a:solidFill>
                  <a:srgbClr val="4277BB"/>
                </a:solidFill>
                <a:cs typeface="Arial"/>
              </a:rPr>
              <a:t>Landing Page</a:t>
            </a:r>
            <a:endParaRPr lang="en-US" sz="1776" b="1" dirty="0">
              <a:solidFill>
                <a:srgbClr val="000000"/>
              </a:solidFill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6E4FDF3C-B16D-77F4-533D-B67DA59952DB}"/>
              </a:ext>
            </a:extLst>
          </p:cNvPr>
          <p:cNvSpPr txBox="1"/>
          <p:nvPr/>
        </p:nvSpPr>
        <p:spPr>
          <a:xfrm>
            <a:off x="2963783" y="3743106"/>
            <a:ext cx="162597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000" dirty="0"/>
              <a:t>Renders the landing page based on user privileges 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63A948F3-2AB6-964E-0343-A6418428A30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3445" y="786951"/>
            <a:ext cx="1496056" cy="1082929"/>
          </a:xfrm>
          <a:prstGeom prst="rect">
            <a:avLst/>
          </a:prstGeom>
        </p:spPr>
      </p:pic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142895F6-04BF-90A4-E7EE-BAB856149E36}"/>
              </a:ext>
            </a:extLst>
          </p:cNvPr>
          <p:cNvCxnSpPr>
            <a:cxnSpLocks/>
          </p:cNvCxnSpPr>
          <p:nvPr/>
        </p:nvCxnSpPr>
        <p:spPr>
          <a:xfrm>
            <a:off x="1293986" y="2651528"/>
            <a:ext cx="851677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5" name="Picture 4" descr="Graphical user interface, diagram, application&#10;&#10;Description automatically generated">
            <a:extLst>
              <a:ext uri="{FF2B5EF4-FFF2-40B4-BE49-F238E27FC236}">
                <a16:creationId xmlns:a16="http://schemas.microsoft.com/office/drawing/2014/main" id="{C7E9FF7D-2AE2-22D1-A3A5-0283DF9A37F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16898" y="2213309"/>
            <a:ext cx="1625974" cy="1120852"/>
          </a:xfrm>
          <a:prstGeom prst="rect">
            <a:avLst/>
          </a:prstGeom>
        </p:spPr>
      </p:pic>
      <p:pic>
        <p:nvPicPr>
          <p:cNvPr id="12" name="Picture 11" descr="Icon&#10;&#10;Description automatically generated">
            <a:extLst>
              <a:ext uri="{FF2B5EF4-FFF2-40B4-BE49-F238E27FC236}">
                <a16:creationId xmlns:a16="http://schemas.microsoft.com/office/drawing/2014/main" id="{CD410F4D-F577-044F-04E3-18AA6B1D7BE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7509" y="2366073"/>
            <a:ext cx="1019758" cy="108293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57234159-7476-7EB1-95BF-1257C0C2F293}"/>
              </a:ext>
            </a:extLst>
          </p:cNvPr>
          <p:cNvSpPr txBox="1"/>
          <p:nvPr/>
        </p:nvSpPr>
        <p:spPr>
          <a:xfrm>
            <a:off x="410965" y="3113655"/>
            <a:ext cx="884221" cy="3353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579" b="1" dirty="0">
                <a:solidFill>
                  <a:srgbClr val="4277BB"/>
                </a:solidFill>
                <a:cs typeface="Arial"/>
              </a:rPr>
              <a:t>Users</a:t>
            </a:r>
          </a:p>
        </p:txBody>
      </p:sp>
      <p:pic>
        <p:nvPicPr>
          <p:cNvPr id="30" name="Picture 29" descr="Table&#10;&#10;Description automatically generated">
            <a:extLst>
              <a:ext uri="{FF2B5EF4-FFF2-40B4-BE49-F238E27FC236}">
                <a16:creationId xmlns:a16="http://schemas.microsoft.com/office/drawing/2014/main" id="{26A85049-1CB1-AD0B-2DE8-2B60EB3F01E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07676" y="4943268"/>
            <a:ext cx="3019425" cy="1514475"/>
          </a:xfrm>
          <a:prstGeom prst="rect">
            <a:avLst/>
          </a:prstGeom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FC945B7A-BEEC-FC9B-BAF9-84DE6B29EDF0}"/>
              </a:ext>
            </a:extLst>
          </p:cNvPr>
          <p:cNvSpPr txBox="1"/>
          <p:nvPr/>
        </p:nvSpPr>
        <p:spPr>
          <a:xfrm>
            <a:off x="4823037" y="4232953"/>
            <a:ext cx="197845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/>
              <a:t>Insert/update operations on database</a:t>
            </a:r>
          </a:p>
        </p:txBody>
      </p: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5A6C6FCA-6D82-1463-F7AF-978E118C1553}"/>
              </a:ext>
            </a:extLst>
          </p:cNvPr>
          <p:cNvCxnSpPr>
            <a:stCxn id="15" idx="2"/>
          </p:cNvCxnSpPr>
          <p:nvPr/>
        </p:nvCxnSpPr>
        <p:spPr>
          <a:xfrm>
            <a:off x="961473" y="1869880"/>
            <a:ext cx="0" cy="50345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 35">
            <a:extLst>
              <a:ext uri="{FF2B5EF4-FFF2-40B4-BE49-F238E27FC236}">
                <a16:creationId xmlns:a16="http://schemas.microsoft.com/office/drawing/2014/main" id="{DE517C10-0A97-27E7-04E1-60AC4D219A48}"/>
              </a:ext>
            </a:extLst>
          </p:cNvPr>
          <p:cNvSpPr/>
          <p:nvPr/>
        </p:nvSpPr>
        <p:spPr>
          <a:xfrm>
            <a:off x="786286" y="1767306"/>
            <a:ext cx="1390722" cy="334124"/>
          </a:xfrm>
          <a:prstGeom prst="rect">
            <a:avLst/>
          </a:prstGeom>
        </p:spPr>
        <p:txBody>
          <a:bodyPr wrap="square" lIns="90229" tIns="45114" rIns="90229" bIns="45114" anchor="t">
            <a:spAutoFit/>
          </a:bodyPr>
          <a:lstStyle/>
          <a:p>
            <a:pPr algn="ctr">
              <a:defRPr sz="1800" b="0">
                <a:solidFill>
                  <a:srgbClr val="000000"/>
                </a:solidFill>
              </a:defRPr>
            </a:pPr>
            <a:r>
              <a:rPr lang="en-IN" sz="1579" b="1" dirty="0">
                <a:solidFill>
                  <a:srgbClr val="4277BB"/>
                </a:solidFill>
                <a:cs typeface="Arial"/>
              </a:rPr>
              <a:t>Azure AD</a:t>
            </a:r>
          </a:p>
        </p:txBody>
      </p: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91997078-DAEE-3E6D-B5B9-B7FC3AEB660C}"/>
              </a:ext>
            </a:extLst>
          </p:cNvPr>
          <p:cNvCxnSpPr>
            <a:cxnSpLocks/>
          </p:cNvCxnSpPr>
          <p:nvPr/>
        </p:nvCxnSpPr>
        <p:spPr>
          <a:xfrm flipV="1">
            <a:off x="3029885" y="3055305"/>
            <a:ext cx="2068411" cy="1177648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>
            <a:extLst>
              <a:ext uri="{FF2B5EF4-FFF2-40B4-BE49-F238E27FC236}">
                <a16:creationId xmlns:a16="http://schemas.microsoft.com/office/drawing/2014/main" id="{1B1FCE2C-8B46-4903-1E2C-5B7A973315FE}"/>
              </a:ext>
            </a:extLst>
          </p:cNvPr>
          <p:cNvSpPr txBox="1"/>
          <p:nvPr/>
        </p:nvSpPr>
        <p:spPr>
          <a:xfrm>
            <a:off x="5007509" y="3522638"/>
            <a:ext cx="231796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800" b="1" dirty="0">
                <a:solidFill>
                  <a:srgbClr val="4277BB"/>
                </a:solidFill>
                <a:cs typeface="Arial"/>
              </a:rPr>
              <a:t>Azure SQL DB</a:t>
            </a:r>
          </a:p>
          <a:p>
            <a:endParaRPr lang="en-IN" dirty="0"/>
          </a:p>
        </p:txBody>
      </p: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C27BE418-B3C4-12B7-BE43-7AB1040D2BBD}"/>
              </a:ext>
            </a:extLst>
          </p:cNvPr>
          <p:cNvCxnSpPr>
            <a:cxnSpLocks/>
            <a:endCxn id="30" idx="0"/>
          </p:cNvCxnSpPr>
          <p:nvPr/>
        </p:nvCxnSpPr>
        <p:spPr>
          <a:xfrm>
            <a:off x="5517388" y="3449003"/>
            <a:ext cx="1" cy="1494265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CCE5C188-2CF3-3761-9405-05468456F282}"/>
              </a:ext>
            </a:extLst>
          </p:cNvPr>
          <p:cNvCxnSpPr/>
          <p:nvPr/>
        </p:nvCxnSpPr>
        <p:spPr>
          <a:xfrm>
            <a:off x="3029885" y="5085708"/>
            <a:ext cx="1141423" cy="77056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1382757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18A3568-4D91-8E25-7375-9627B26AB69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02017" y="165928"/>
            <a:ext cx="7903758" cy="596072"/>
          </a:xfrm>
        </p:spPr>
        <p:txBody>
          <a:bodyPr/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IN" cap="none" dirty="0">
                <a:solidFill>
                  <a:schemeClr val="accent5">
                    <a:lumMod val="50000"/>
                  </a:schemeClr>
                </a:solidFill>
                <a:latin typeface="Gill Sans MT"/>
              </a:rPr>
              <a:t>Phase 1- Execution Plan &amp; Commercials </a:t>
            </a:r>
          </a:p>
        </p:txBody>
      </p:sp>
      <p:sp>
        <p:nvSpPr>
          <p:cNvPr id="4" name="Chevron 2">
            <a:extLst>
              <a:ext uri="{FF2B5EF4-FFF2-40B4-BE49-F238E27FC236}">
                <a16:creationId xmlns:a16="http://schemas.microsoft.com/office/drawing/2014/main" id="{B0385972-AC64-82CD-F33E-E940F13E22ED}"/>
              </a:ext>
            </a:extLst>
          </p:cNvPr>
          <p:cNvSpPr/>
          <p:nvPr/>
        </p:nvSpPr>
        <p:spPr>
          <a:xfrm>
            <a:off x="2466972" y="2710100"/>
            <a:ext cx="1355936" cy="274377"/>
          </a:xfrm>
          <a:prstGeom prst="chevron">
            <a:avLst/>
          </a:prstGeom>
          <a:solidFill>
            <a:srgbClr val="0E3570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l Sans MT" panose="020B0502020104020203" pitchFamily="34" charset="0"/>
                <a:ea typeface="Lato" panose="020F0502020204030203" pitchFamily="34" charset="0"/>
                <a:cs typeface="Lato" panose="020F0502020204030203" pitchFamily="34" charset="0"/>
              </a:rPr>
              <a:t>Sprint 1</a:t>
            </a:r>
          </a:p>
        </p:txBody>
      </p:sp>
      <p:sp>
        <p:nvSpPr>
          <p:cNvPr id="5" name="Chevron 3">
            <a:extLst>
              <a:ext uri="{FF2B5EF4-FFF2-40B4-BE49-F238E27FC236}">
                <a16:creationId xmlns:a16="http://schemas.microsoft.com/office/drawing/2014/main" id="{65D71E23-EEFE-E5AA-B0A0-122855388786}"/>
              </a:ext>
            </a:extLst>
          </p:cNvPr>
          <p:cNvSpPr/>
          <p:nvPr/>
        </p:nvSpPr>
        <p:spPr>
          <a:xfrm>
            <a:off x="3822909" y="2710100"/>
            <a:ext cx="1355936" cy="274377"/>
          </a:xfrm>
          <a:prstGeom prst="chevron">
            <a:avLst/>
          </a:prstGeom>
          <a:solidFill>
            <a:srgbClr val="0E3570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l Sans MT" panose="020B0502020104020203" pitchFamily="34" charset="0"/>
                <a:ea typeface="Lato" panose="020F0502020204030203" pitchFamily="34" charset="0"/>
                <a:cs typeface="Lato" panose="020F0502020204030203" pitchFamily="34" charset="0"/>
              </a:rPr>
              <a:t>Sprin</a:t>
            </a:r>
            <a:r>
              <a:rPr lang="en-US" sz="1200" b="1" kern="0">
                <a:solidFill>
                  <a:srgbClr val="FFFFFF"/>
                </a:solidFill>
                <a:latin typeface="Gill Sans MT" panose="020B0502020104020203" pitchFamily="34" charset="0"/>
                <a:ea typeface="Lato" panose="020F0502020204030203" pitchFamily="34" charset="0"/>
                <a:cs typeface="Lato" panose="020F0502020204030203" pitchFamily="34" charset="0"/>
              </a:rPr>
              <a:t>t 2</a:t>
            </a: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l Sans MT" panose="020B050202010402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6" name="Chevron 4">
            <a:extLst>
              <a:ext uri="{FF2B5EF4-FFF2-40B4-BE49-F238E27FC236}">
                <a16:creationId xmlns:a16="http://schemas.microsoft.com/office/drawing/2014/main" id="{0381D02C-2689-48F4-8271-44745FC1651F}"/>
              </a:ext>
            </a:extLst>
          </p:cNvPr>
          <p:cNvSpPr/>
          <p:nvPr/>
        </p:nvSpPr>
        <p:spPr>
          <a:xfrm>
            <a:off x="5178845" y="2710100"/>
            <a:ext cx="1355936" cy="274377"/>
          </a:xfrm>
          <a:prstGeom prst="chevron">
            <a:avLst/>
          </a:prstGeom>
          <a:solidFill>
            <a:srgbClr val="0E3570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l Sans MT" panose="020B0502020104020203" pitchFamily="34" charset="0"/>
                <a:ea typeface="Lato" panose="020F0502020204030203" pitchFamily="34" charset="0"/>
                <a:cs typeface="Lato" panose="020F0502020204030203" pitchFamily="34" charset="0"/>
              </a:rPr>
              <a:t>Sprint 3</a:t>
            </a:r>
          </a:p>
        </p:txBody>
      </p:sp>
      <p:sp>
        <p:nvSpPr>
          <p:cNvPr id="7" name="Chevron 5">
            <a:extLst>
              <a:ext uri="{FF2B5EF4-FFF2-40B4-BE49-F238E27FC236}">
                <a16:creationId xmlns:a16="http://schemas.microsoft.com/office/drawing/2014/main" id="{066CD39F-525A-B243-78E4-A6EB8E69990A}"/>
              </a:ext>
            </a:extLst>
          </p:cNvPr>
          <p:cNvSpPr/>
          <p:nvPr/>
        </p:nvSpPr>
        <p:spPr>
          <a:xfrm>
            <a:off x="6534782" y="2710100"/>
            <a:ext cx="1355936" cy="274377"/>
          </a:xfrm>
          <a:prstGeom prst="chevron">
            <a:avLst/>
          </a:prstGeom>
          <a:solidFill>
            <a:srgbClr val="0E3570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l Sans MT" panose="020B0502020104020203" pitchFamily="34" charset="0"/>
                <a:ea typeface="Lato" panose="020F0502020204030203" pitchFamily="34" charset="0"/>
                <a:cs typeface="Lato" panose="020F0502020204030203" pitchFamily="34" charset="0"/>
              </a:rPr>
              <a:t>Sprint 4</a:t>
            </a:r>
          </a:p>
        </p:txBody>
      </p:sp>
      <p:sp>
        <p:nvSpPr>
          <p:cNvPr id="8" name="Chevron 6">
            <a:extLst>
              <a:ext uri="{FF2B5EF4-FFF2-40B4-BE49-F238E27FC236}">
                <a16:creationId xmlns:a16="http://schemas.microsoft.com/office/drawing/2014/main" id="{E9526873-163E-3121-56BB-10D3EA3C8D08}"/>
              </a:ext>
            </a:extLst>
          </p:cNvPr>
          <p:cNvSpPr/>
          <p:nvPr/>
        </p:nvSpPr>
        <p:spPr>
          <a:xfrm>
            <a:off x="7890719" y="2710100"/>
            <a:ext cx="1107290" cy="306465"/>
          </a:xfrm>
          <a:prstGeom prst="chevron">
            <a:avLst/>
          </a:prstGeom>
          <a:solidFill>
            <a:schemeClr val="accent6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0" dirty="0">
                <a:solidFill>
                  <a:srgbClr val="FFFFFF"/>
                </a:solidFill>
                <a:latin typeface="Gill Sans MT" panose="020B0502020104020203" pitchFamily="34" charset="0"/>
                <a:ea typeface="Lato" panose="020F0502020204030203" pitchFamily="34" charset="0"/>
                <a:cs typeface="Lato" panose="020F0502020204030203" pitchFamily="34" charset="0"/>
              </a:rPr>
              <a:t>Sprint 5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l Sans MT" panose="020B050202010402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Chevron 7">
            <a:extLst>
              <a:ext uri="{FF2B5EF4-FFF2-40B4-BE49-F238E27FC236}">
                <a16:creationId xmlns:a16="http://schemas.microsoft.com/office/drawing/2014/main" id="{2D27BC56-4DE7-43D6-B4A4-45998BC1C3CC}"/>
              </a:ext>
            </a:extLst>
          </p:cNvPr>
          <p:cNvSpPr/>
          <p:nvPr/>
        </p:nvSpPr>
        <p:spPr>
          <a:xfrm>
            <a:off x="1359678" y="2716483"/>
            <a:ext cx="1107291" cy="267994"/>
          </a:xfrm>
          <a:prstGeom prst="chevron">
            <a:avLst/>
          </a:prstGeom>
          <a:solidFill>
            <a:schemeClr val="accent2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0" dirty="0">
                <a:solidFill>
                  <a:srgbClr val="FFFFFF"/>
                </a:solidFill>
                <a:latin typeface="Gill Sans MT" panose="020B0502020104020203" pitchFamily="34" charset="0"/>
                <a:ea typeface="Lato" panose="020F0502020204030203" pitchFamily="34" charset="0"/>
                <a:cs typeface="Lato" panose="020F0502020204030203" pitchFamily="34" charset="0"/>
              </a:rPr>
              <a:t>Sprint 0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l Sans MT" panose="020B050202010402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105C262-0362-1DAA-3481-DE82C871EA96}"/>
              </a:ext>
            </a:extLst>
          </p:cNvPr>
          <p:cNvCxnSpPr/>
          <p:nvPr/>
        </p:nvCxnSpPr>
        <p:spPr>
          <a:xfrm flipV="1">
            <a:off x="3070337" y="2255121"/>
            <a:ext cx="0" cy="356708"/>
          </a:xfrm>
          <a:prstGeom prst="line">
            <a:avLst/>
          </a:prstGeom>
          <a:noFill/>
          <a:ln w="9525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miter lim="800000"/>
          </a:ln>
          <a:effectLst/>
        </p:spPr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CB908995-1BE4-3BB3-183F-08043D4ED0A3}"/>
              </a:ext>
            </a:extLst>
          </p:cNvPr>
          <p:cNvSpPr txBox="1"/>
          <p:nvPr/>
        </p:nvSpPr>
        <p:spPr>
          <a:xfrm>
            <a:off x="2299299" y="1130262"/>
            <a:ext cx="250848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defTabSz="914126">
              <a:defRPr/>
            </a:pPr>
            <a:r>
              <a:rPr lang="en-US" sz="1200" b="1" u="sng" kern="0" dirty="0">
                <a:solidFill>
                  <a:srgbClr val="646363"/>
                </a:solidFill>
                <a:latin typeface="Gill Sans MT" panose="020B0502020104020203" pitchFamily="34" charset="0"/>
                <a:cs typeface="Arial" pitchFamily="34" charset="0"/>
              </a:rPr>
              <a:t>Sprint 1</a:t>
            </a:r>
          </a:p>
          <a:p>
            <a:pPr marL="171450" lvl="0" indent="-171450" defTabSz="914126"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solidFill>
                  <a:srgbClr val="646363"/>
                </a:solidFill>
                <a:latin typeface="Gill Sans MT" panose="020B0502020104020203" pitchFamily="34" charset="0"/>
                <a:cs typeface="Arial" pitchFamily="34" charset="0"/>
              </a:rPr>
              <a:t>Analyze the Database and Table creation and other activities</a:t>
            </a:r>
          </a:p>
          <a:p>
            <a:pPr marL="171450" lvl="0" indent="-171450" defTabSz="914126"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solidFill>
                  <a:srgbClr val="646363"/>
                </a:solidFill>
                <a:latin typeface="Gill Sans MT" panose="020B0502020104020203" pitchFamily="34" charset="0"/>
                <a:cs typeface="Arial" pitchFamily="34" charset="0"/>
              </a:rPr>
              <a:t>Dev Environment setup</a:t>
            </a:r>
          </a:p>
          <a:p>
            <a:pPr marL="171450" lvl="0" indent="-171450" defTabSz="914126"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solidFill>
                  <a:srgbClr val="646363"/>
                </a:solidFill>
                <a:latin typeface="Gill Sans MT" panose="020B0502020104020203" pitchFamily="34" charset="0"/>
                <a:cs typeface="Arial" pitchFamily="34" charset="0"/>
              </a:rPr>
              <a:t>UI Design and approvals</a:t>
            </a:r>
          </a:p>
          <a:p>
            <a:pPr marL="171450" lvl="0" indent="-171450" defTabSz="914126"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solidFill>
                  <a:srgbClr val="646363"/>
                </a:solidFill>
                <a:latin typeface="Gill Sans MT" panose="020B0502020104020203" pitchFamily="34" charset="0"/>
                <a:cs typeface="Arial" pitchFamily="34" charset="0"/>
              </a:rPr>
              <a:t>Application onboarding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FDDEA464-0F38-EEC0-BD4A-3F613FDC6805}"/>
              </a:ext>
            </a:extLst>
          </p:cNvPr>
          <p:cNvCxnSpPr/>
          <p:nvPr/>
        </p:nvCxnSpPr>
        <p:spPr>
          <a:xfrm flipV="1">
            <a:off x="5772801" y="2255121"/>
            <a:ext cx="0" cy="356708"/>
          </a:xfrm>
          <a:prstGeom prst="line">
            <a:avLst/>
          </a:prstGeom>
          <a:noFill/>
          <a:ln w="9525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miter lim="800000"/>
          </a:ln>
          <a:effectLst/>
        </p:spPr>
      </p:cxnSp>
      <p:sp>
        <p:nvSpPr>
          <p:cNvPr id="16" name="Freeform 89">
            <a:extLst>
              <a:ext uri="{FF2B5EF4-FFF2-40B4-BE49-F238E27FC236}">
                <a16:creationId xmlns:a16="http://schemas.microsoft.com/office/drawing/2014/main" id="{73E57C8C-CF8E-D406-C2C2-9A40E641E5B9}"/>
              </a:ext>
            </a:extLst>
          </p:cNvPr>
          <p:cNvSpPr>
            <a:spLocks noEditPoints="1"/>
          </p:cNvSpPr>
          <p:nvPr/>
        </p:nvSpPr>
        <p:spPr bwMode="auto">
          <a:xfrm>
            <a:off x="4321656" y="1421391"/>
            <a:ext cx="313421" cy="284589"/>
          </a:xfrm>
          <a:custGeom>
            <a:avLst/>
            <a:gdLst>
              <a:gd name="T0" fmla="*/ 93 w 185"/>
              <a:gd name="T1" fmla="*/ 0 h 168"/>
              <a:gd name="T2" fmla="*/ 0 w 185"/>
              <a:gd name="T3" fmla="*/ 76 h 168"/>
              <a:gd name="T4" fmla="*/ 26 w 185"/>
              <a:gd name="T5" fmla="*/ 128 h 168"/>
              <a:gd name="T6" fmla="*/ 17 w 185"/>
              <a:gd name="T7" fmla="*/ 168 h 168"/>
              <a:gd name="T8" fmla="*/ 67 w 185"/>
              <a:gd name="T9" fmla="*/ 148 h 168"/>
              <a:gd name="T10" fmla="*/ 93 w 185"/>
              <a:gd name="T11" fmla="*/ 152 h 168"/>
              <a:gd name="T12" fmla="*/ 185 w 185"/>
              <a:gd name="T13" fmla="*/ 76 h 168"/>
              <a:gd name="T14" fmla="*/ 93 w 185"/>
              <a:gd name="T15" fmla="*/ 0 h 168"/>
              <a:gd name="T16" fmla="*/ 93 w 185"/>
              <a:gd name="T17" fmla="*/ 143 h 168"/>
              <a:gd name="T18" fmla="*/ 69 w 185"/>
              <a:gd name="T19" fmla="*/ 140 h 168"/>
              <a:gd name="T20" fmla="*/ 67 w 185"/>
              <a:gd name="T21" fmla="*/ 140 h 168"/>
              <a:gd name="T22" fmla="*/ 63 w 185"/>
              <a:gd name="T23" fmla="*/ 141 h 168"/>
              <a:gd name="T24" fmla="*/ 29 w 185"/>
              <a:gd name="T25" fmla="*/ 155 h 168"/>
              <a:gd name="T26" fmla="*/ 34 w 185"/>
              <a:gd name="T27" fmla="*/ 130 h 168"/>
              <a:gd name="T28" fmla="*/ 31 w 185"/>
              <a:gd name="T29" fmla="*/ 122 h 168"/>
              <a:gd name="T30" fmla="*/ 8 w 185"/>
              <a:gd name="T31" fmla="*/ 76 h 168"/>
              <a:gd name="T32" fmla="*/ 93 w 185"/>
              <a:gd name="T33" fmla="*/ 8 h 168"/>
              <a:gd name="T34" fmla="*/ 177 w 185"/>
              <a:gd name="T35" fmla="*/ 76 h 168"/>
              <a:gd name="T36" fmla="*/ 93 w 185"/>
              <a:gd name="T37" fmla="*/ 143 h 1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85" h="168">
                <a:moveTo>
                  <a:pt x="93" y="0"/>
                </a:moveTo>
                <a:cubicBezTo>
                  <a:pt x="41" y="0"/>
                  <a:pt x="0" y="34"/>
                  <a:pt x="0" y="76"/>
                </a:cubicBezTo>
                <a:cubicBezTo>
                  <a:pt x="0" y="96"/>
                  <a:pt x="10" y="115"/>
                  <a:pt x="26" y="128"/>
                </a:cubicBezTo>
                <a:cubicBezTo>
                  <a:pt x="17" y="168"/>
                  <a:pt x="17" y="168"/>
                  <a:pt x="17" y="168"/>
                </a:cubicBezTo>
                <a:cubicBezTo>
                  <a:pt x="67" y="148"/>
                  <a:pt x="67" y="148"/>
                  <a:pt x="67" y="148"/>
                </a:cubicBezTo>
                <a:cubicBezTo>
                  <a:pt x="75" y="150"/>
                  <a:pt x="84" y="152"/>
                  <a:pt x="93" y="152"/>
                </a:cubicBezTo>
                <a:cubicBezTo>
                  <a:pt x="144" y="152"/>
                  <a:pt x="185" y="118"/>
                  <a:pt x="185" y="76"/>
                </a:cubicBezTo>
                <a:cubicBezTo>
                  <a:pt x="185" y="34"/>
                  <a:pt x="144" y="0"/>
                  <a:pt x="93" y="0"/>
                </a:cubicBezTo>
                <a:close/>
                <a:moveTo>
                  <a:pt x="93" y="143"/>
                </a:moveTo>
                <a:cubicBezTo>
                  <a:pt x="85" y="143"/>
                  <a:pt x="76" y="142"/>
                  <a:pt x="69" y="140"/>
                </a:cubicBezTo>
                <a:cubicBezTo>
                  <a:pt x="68" y="140"/>
                  <a:pt x="67" y="140"/>
                  <a:pt x="67" y="140"/>
                </a:cubicBezTo>
                <a:cubicBezTo>
                  <a:pt x="65" y="140"/>
                  <a:pt x="64" y="140"/>
                  <a:pt x="63" y="141"/>
                </a:cubicBezTo>
                <a:cubicBezTo>
                  <a:pt x="29" y="155"/>
                  <a:pt x="29" y="155"/>
                  <a:pt x="29" y="155"/>
                </a:cubicBezTo>
                <a:cubicBezTo>
                  <a:pt x="34" y="130"/>
                  <a:pt x="34" y="130"/>
                  <a:pt x="34" y="130"/>
                </a:cubicBezTo>
                <a:cubicBezTo>
                  <a:pt x="35" y="127"/>
                  <a:pt x="34" y="124"/>
                  <a:pt x="31" y="122"/>
                </a:cubicBezTo>
                <a:cubicBezTo>
                  <a:pt x="16" y="109"/>
                  <a:pt x="8" y="93"/>
                  <a:pt x="8" y="76"/>
                </a:cubicBezTo>
                <a:cubicBezTo>
                  <a:pt x="8" y="38"/>
                  <a:pt x="46" y="8"/>
                  <a:pt x="93" y="8"/>
                </a:cubicBezTo>
                <a:cubicBezTo>
                  <a:pt x="139" y="8"/>
                  <a:pt x="177" y="38"/>
                  <a:pt x="177" y="76"/>
                </a:cubicBezTo>
                <a:cubicBezTo>
                  <a:pt x="177" y="113"/>
                  <a:pt x="139" y="143"/>
                  <a:pt x="93" y="143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l Sans MT" panose="020B0502020104020203" pitchFamily="34" charset="0"/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8AE96951-EEB3-8394-C2C7-3308B765AEB0}"/>
              </a:ext>
            </a:extLst>
          </p:cNvPr>
          <p:cNvCxnSpPr/>
          <p:nvPr/>
        </p:nvCxnSpPr>
        <p:spPr>
          <a:xfrm flipV="1">
            <a:off x="2051538" y="3082747"/>
            <a:ext cx="0" cy="356708"/>
          </a:xfrm>
          <a:prstGeom prst="line">
            <a:avLst/>
          </a:prstGeom>
          <a:noFill/>
          <a:ln w="9525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miter lim="800000"/>
          </a:ln>
          <a:effectLst/>
        </p:spPr>
      </p:cxnSp>
      <p:sp>
        <p:nvSpPr>
          <p:cNvPr id="20" name="Freeform 87">
            <a:extLst>
              <a:ext uri="{FF2B5EF4-FFF2-40B4-BE49-F238E27FC236}">
                <a16:creationId xmlns:a16="http://schemas.microsoft.com/office/drawing/2014/main" id="{17D8FC07-A05F-206E-F252-C6C5F1B5ACEF}"/>
              </a:ext>
            </a:extLst>
          </p:cNvPr>
          <p:cNvSpPr>
            <a:spLocks noEditPoints="1"/>
          </p:cNvSpPr>
          <p:nvPr/>
        </p:nvSpPr>
        <p:spPr bwMode="auto">
          <a:xfrm>
            <a:off x="2917406" y="3808471"/>
            <a:ext cx="314352" cy="315280"/>
          </a:xfrm>
          <a:custGeom>
            <a:avLst/>
            <a:gdLst>
              <a:gd name="T0" fmla="*/ 46 w 186"/>
              <a:gd name="T1" fmla="*/ 139 h 186"/>
              <a:gd name="T2" fmla="*/ 82 w 186"/>
              <a:gd name="T3" fmla="*/ 133 h 186"/>
              <a:gd name="T4" fmla="*/ 179 w 186"/>
              <a:gd name="T5" fmla="*/ 36 h 186"/>
              <a:gd name="T6" fmla="*/ 186 w 186"/>
              <a:gd name="T7" fmla="*/ 21 h 186"/>
              <a:gd name="T8" fmla="*/ 165 w 186"/>
              <a:gd name="T9" fmla="*/ 0 h 186"/>
              <a:gd name="T10" fmla="*/ 150 w 186"/>
              <a:gd name="T11" fmla="*/ 6 h 186"/>
              <a:gd name="T12" fmla="*/ 53 w 186"/>
              <a:gd name="T13" fmla="*/ 103 h 186"/>
              <a:gd name="T14" fmla="*/ 46 w 186"/>
              <a:gd name="T15" fmla="*/ 139 h 186"/>
              <a:gd name="T16" fmla="*/ 156 w 186"/>
              <a:gd name="T17" fmla="*/ 12 h 186"/>
              <a:gd name="T18" fmla="*/ 165 w 186"/>
              <a:gd name="T19" fmla="*/ 9 h 186"/>
              <a:gd name="T20" fmla="*/ 177 w 186"/>
              <a:gd name="T21" fmla="*/ 21 h 186"/>
              <a:gd name="T22" fmla="*/ 174 w 186"/>
              <a:gd name="T23" fmla="*/ 30 h 186"/>
              <a:gd name="T24" fmla="*/ 168 w 186"/>
              <a:gd name="T25" fmla="*/ 36 h 186"/>
              <a:gd name="T26" fmla="*/ 150 w 186"/>
              <a:gd name="T27" fmla="*/ 18 h 186"/>
              <a:gd name="T28" fmla="*/ 156 w 186"/>
              <a:gd name="T29" fmla="*/ 12 h 186"/>
              <a:gd name="T30" fmla="*/ 144 w 186"/>
              <a:gd name="T31" fmla="*/ 24 h 186"/>
              <a:gd name="T32" fmla="*/ 162 w 186"/>
              <a:gd name="T33" fmla="*/ 42 h 186"/>
              <a:gd name="T34" fmla="*/ 84 w 186"/>
              <a:gd name="T35" fmla="*/ 119 h 186"/>
              <a:gd name="T36" fmla="*/ 84 w 186"/>
              <a:gd name="T37" fmla="*/ 102 h 186"/>
              <a:gd name="T38" fmla="*/ 67 w 186"/>
              <a:gd name="T39" fmla="*/ 102 h 186"/>
              <a:gd name="T40" fmla="*/ 144 w 186"/>
              <a:gd name="T41" fmla="*/ 24 h 186"/>
              <a:gd name="T42" fmla="*/ 60 w 186"/>
              <a:gd name="T43" fmla="*/ 110 h 186"/>
              <a:gd name="T44" fmla="*/ 76 w 186"/>
              <a:gd name="T45" fmla="*/ 110 h 186"/>
              <a:gd name="T46" fmla="*/ 76 w 186"/>
              <a:gd name="T47" fmla="*/ 126 h 186"/>
              <a:gd name="T48" fmla="*/ 57 w 186"/>
              <a:gd name="T49" fmla="*/ 129 h 186"/>
              <a:gd name="T50" fmla="*/ 60 w 186"/>
              <a:gd name="T51" fmla="*/ 110 h 186"/>
              <a:gd name="T52" fmla="*/ 181 w 186"/>
              <a:gd name="T53" fmla="*/ 64 h 186"/>
              <a:gd name="T54" fmla="*/ 177 w 186"/>
              <a:gd name="T55" fmla="*/ 68 h 186"/>
              <a:gd name="T56" fmla="*/ 177 w 186"/>
              <a:gd name="T57" fmla="*/ 161 h 186"/>
              <a:gd name="T58" fmla="*/ 160 w 186"/>
              <a:gd name="T59" fmla="*/ 177 h 186"/>
              <a:gd name="T60" fmla="*/ 25 w 186"/>
              <a:gd name="T61" fmla="*/ 177 h 186"/>
              <a:gd name="T62" fmla="*/ 8 w 186"/>
              <a:gd name="T63" fmla="*/ 161 h 186"/>
              <a:gd name="T64" fmla="*/ 8 w 186"/>
              <a:gd name="T65" fmla="*/ 26 h 186"/>
              <a:gd name="T66" fmla="*/ 25 w 186"/>
              <a:gd name="T67" fmla="*/ 9 h 186"/>
              <a:gd name="T68" fmla="*/ 118 w 186"/>
              <a:gd name="T69" fmla="*/ 9 h 186"/>
              <a:gd name="T70" fmla="*/ 122 w 186"/>
              <a:gd name="T71" fmla="*/ 4 h 186"/>
              <a:gd name="T72" fmla="*/ 118 w 186"/>
              <a:gd name="T73" fmla="*/ 0 h 186"/>
              <a:gd name="T74" fmla="*/ 25 w 186"/>
              <a:gd name="T75" fmla="*/ 0 h 186"/>
              <a:gd name="T76" fmla="*/ 0 w 186"/>
              <a:gd name="T77" fmla="*/ 26 h 186"/>
              <a:gd name="T78" fmla="*/ 0 w 186"/>
              <a:gd name="T79" fmla="*/ 161 h 186"/>
              <a:gd name="T80" fmla="*/ 25 w 186"/>
              <a:gd name="T81" fmla="*/ 186 h 186"/>
              <a:gd name="T82" fmla="*/ 160 w 186"/>
              <a:gd name="T83" fmla="*/ 186 h 186"/>
              <a:gd name="T84" fmla="*/ 186 w 186"/>
              <a:gd name="T85" fmla="*/ 161 h 186"/>
              <a:gd name="T86" fmla="*/ 186 w 186"/>
              <a:gd name="T87" fmla="*/ 68 h 186"/>
              <a:gd name="T88" fmla="*/ 181 w 186"/>
              <a:gd name="T89" fmla="*/ 64 h 1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186" h="186">
                <a:moveTo>
                  <a:pt x="46" y="139"/>
                </a:moveTo>
                <a:cubicBezTo>
                  <a:pt x="82" y="133"/>
                  <a:pt x="82" y="133"/>
                  <a:pt x="82" y="133"/>
                </a:cubicBezTo>
                <a:cubicBezTo>
                  <a:pt x="179" y="36"/>
                  <a:pt x="179" y="36"/>
                  <a:pt x="179" y="36"/>
                </a:cubicBezTo>
                <a:cubicBezTo>
                  <a:pt x="183" y="32"/>
                  <a:pt x="186" y="27"/>
                  <a:pt x="186" y="21"/>
                </a:cubicBezTo>
                <a:cubicBezTo>
                  <a:pt x="186" y="10"/>
                  <a:pt x="176" y="0"/>
                  <a:pt x="165" y="0"/>
                </a:cubicBezTo>
                <a:cubicBezTo>
                  <a:pt x="159" y="0"/>
                  <a:pt x="153" y="3"/>
                  <a:pt x="150" y="6"/>
                </a:cubicBezTo>
                <a:cubicBezTo>
                  <a:pt x="53" y="103"/>
                  <a:pt x="53" y="103"/>
                  <a:pt x="53" y="103"/>
                </a:cubicBezTo>
                <a:lnTo>
                  <a:pt x="46" y="139"/>
                </a:lnTo>
                <a:close/>
                <a:moveTo>
                  <a:pt x="156" y="12"/>
                </a:moveTo>
                <a:cubicBezTo>
                  <a:pt x="158" y="10"/>
                  <a:pt x="161" y="9"/>
                  <a:pt x="165" y="9"/>
                </a:cubicBezTo>
                <a:cubicBezTo>
                  <a:pt x="172" y="9"/>
                  <a:pt x="177" y="14"/>
                  <a:pt x="177" y="21"/>
                </a:cubicBezTo>
                <a:cubicBezTo>
                  <a:pt x="177" y="25"/>
                  <a:pt x="176" y="28"/>
                  <a:pt x="174" y="30"/>
                </a:cubicBezTo>
                <a:cubicBezTo>
                  <a:pt x="168" y="36"/>
                  <a:pt x="168" y="36"/>
                  <a:pt x="168" y="36"/>
                </a:cubicBezTo>
                <a:cubicBezTo>
                  <a:pt x="150" y="18"/>
                  <a:pt x="150" y="18"/>
                  <a:pt x="150" y="18"/>
                </a:cubicBezTo>
                <a:lnTo>
                  <a:pt x="156" y="12"/>
                </a:lnTo>
                <a:close/>
                <a:moveTo>
                  <a:pt x="144" y="24"/>
                </a:moveTo>
                <a:cubicBezTo>
                  <a:pt x="162" y="42"/>
                  <a:pt x="162" y="42"/>
                  <a:pt x="162" y="42"/>
                </a:cubicBezTo>
                <a:cubicBezTo>
                  <a:pt x="84" y="119"/>
                  <a:pt x="84" y="119"/>
                  <a:pt x="84" y="119"/>
                </a:cubicBezTo>
                <a:cubicBezTo>
                  <a:pt x="84" y="102"/>
                  <a:pt x="84" y="102"/>
                  <a:pt x="84" y="102"/>
                </a:cubicBezTo>
                <a:cubicBezTo>
                  <a:pt x="67" y="102"/>
                  <a:pt x="67" y="102"/>
                  <a:pt x="67" y="102"/>
                </a:cubicBezTo>
                <a:lnTo>
                  <a:pt x="144" y="24"/>
                </a:lnTo>
                <a:close/>
                <a:moveTo>
                  <a:pt x="60" y="110"/>
                </a:moveTo>
                <a:cubicBezTo>
                  <a:pt x="76" y="110"/>
                  <a:pt x="76" y="110"/>
                  <a:pt x="76" y="110"/>
                </a:cubicBezTo>
                <a:cubicBezTo>
                  <a:pt x="76" y="126"/>
                  <a:pt x="76" y="126"/>
                  <a:pt x="76" y="126"/>
                </a:cubicBezTo>
                <a:cubicBezTo>
                  <a:pt x="57" y="129"/>
                  <a:pt x="57" y="129"/>
                  <a:pt x="57" y="129"/>
                </a:cubicBezTo>
                <a:lnTo>
                  <a:pt x="60" y="110"/>
                </a:lnTo>
                <a:close/>
                <a:moveTo>
                  <a:pt x="181" y="64"/>
                </a:moveTo>
                <a:cubicBezTo>
                  <a:pt x="179" y="64"/>
                  <a:pt x="177" y="65"/>
                  <a:pt x="177" y="68"/>
                </a:cubicBezTo>
                <a:cubicBezTo>
                  <a:pt x="177" y="161"/>
                  <a:pt x="177" y="161"/>
                  <a:pt x="177" y="161"/>
                </a:cubicBezTo>
                <a:cubicBezTo>
                  <a:pt x="177" y="170"/>
                  <a:pt x="170" y="177"/>
                  <a:pt x="160" y="177"/>
                </a:cubicBezTo>
                <a:cubicBezTo>
                  <a:pt x="25" y="177"/>
                  <a:pt x="25" y="177"/>
                  <a:pt x="25" y="177"/>
                </a:cubicBezTo>
                <a:cubicBezTo>
                  <a:pt x="16" y="177"/>
                  <a:pt x="8" y="170"/>
                  <a:pt x="8" y="161"/>
                </a:cubicBezTo>
                <a:cubicBezTo>
                  <a:pt x="8" y="26"/>
                  <a:pt x="8" y="26"/>
                  <a:pt x="8" y="26"/>
                </a:cubicBezTo>
                <a:cubicBezTo>
                  <a:pt x="8" y="16"/>
                  <a:pt x="16" y="9"/>
                  <a:pt x="25" y="9"/>
                </a:cubicBezTo>
                <a:cubicBezTo>
                  <a:pt x="118" y="9"/>
                  <a:pt x="118" y="9"/>
                  <a:pt x="118" y="9"/>
                </a:cubicBezTo>
                <a:cubicBezTo>
                  <a:pt x="120" y="9"/>
                  <a:pt x="122" y="7"/>
                  <a:pt x="122" y="4"/>
                </a:cubicBezTo>
                <a:cubicBezTo>
                  <a:pt x="122" y="2"/>
                  <a:pt x="120" y="0"/>
                  <a:pt x="118" y="0"/>
                </a:cubicBezTo>
                <a:cubicBezTo>
                  <a:pt x="25" y="0"/>
                  <a:pt x="25" y="0"/>
                  <a:pt x="25" y="0"/>
                </a:cubicBezTo>
                <a:cubicBezTo>
                  <a:pt x="11" y="0"/>
                  <a:pt x="0" y="12"/>
                  <a:pt x="0" y="26"/>
                </a:cubicBezTo>
                <a:cubicBezTo>
                  <a:pt x="0" y="161"/>
                  <a:pt x="0" y="161"/>
                  <a:pt x="0" y="161"/>
                </a:cubicBezTo>
                <a:cubicBezTo>
                  <a:pt x="0" y="175"/>
                  <a:pt x="11" y="186"/>
                  <a:pt x="25" y="186"/>
                </a:cubicBezTo>
                <a:cubicBezTo>
                  <a:pt x="160" y="186"/>
                  <a:pt x="160" y="186"/>
                  <a:pt x="160" y="186"/>
                </a:cubicBezTo>
                <a:cubicBezTo>
                  <a:pt x="174" y="186"/>
                  <a:pt x="186" y="175"/>
                  <a:pt x="186" y="161"/>
                </a:cubicBezTo>
                <a:cubicBezTo>
                  <a:pt x="186" y="68"/>
                  <a:pt x="186" y="68"/>
                  <a:pt x="186" y="68"/>
                </a:cubicBezTo>
                <a:cubicBezTo>
                  <a:pt x="186" y="65"/>
                  <a:pt x="184" y="64"/>
                  <a:pt x="181" y="6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l Sans MT" panose="020B0502020104020203" pitchFamily="34" charset="0"/>
            </a:endParaRP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E3886466-3E13-4469-1D8E-E5C0FC39D520}"/>
              </a:ext>
            </a:extLst>
          </p:cNvPr>
          <p:cNvCxnSpPr/>
          <p:nvPr/>
        </p:nvCxnSpPr>
        <p:spPr>
          <a:xfrm flipV="1">
            <a:off x="4468135" y="3082747"/>
            <a:ext cx="0" cy="356708"/>
          </a:xfrm>
          <a:prstGeom prst="line">
            <a:avLst/>
          </a:prstGeom>
          <a:noFill/>
          <a:ln w="9525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miter lim="800000"/>
          </a:ln>
          <a:effectLst/>
        </p:spPr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24E0F2C1-1702-C636-0EB3-2DB59E86A261}"/>
              </a:ext>
            </a:extLst>
          </p:cNvPr>
          <p:cNvCxnSpPr/>
          <p:nvPr/>
        </p:nvCxnSpPr>
        <p:spPr>
          <a:xfrm flipV="1">
            <a:off x="8370375" y="2255121"/>
            <a:ext cx="0" cy="356708"/>
          </a:xfrm>
          <a:prstGeom prst="line">
            <a:avLst/>
          </a:prstGeom>
          <a:noFill/>
          <a:ln w="9525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miter lim="800000"/>
          </a:ln>
          <a:effectLst/>
        </p:spPr>
      </p:cxnSp>
      <p:sp>
        <p:nvSpPr>
          <p:cNvPr id="30" name="Freeform 170">
            <a:extLst>
              <a:ext uri="{FF2B5EF4-FFF2-40B4-BE49-F238E27FC236}">
                <a16:creationId xmlns:a16="http://schemas.microsoft.com/office/drawing/2014/main" id="{4CCAFB75-29CC-8FEC-BDED-AFF26A693AF4}"/>
              </a:ext>
            </a:extLst>
          </p:cNvPr>
          <p:cNvSpPr>
            <a:spLocks noEditPoints="1"/>
          </p:cNvSpPr>
          <p:nvPr/>
        </p:nvSpPr>
        <p:spPr bwMode="auto">
          <a:xfrm>
            <a:off x="7032099" y="1421390"/>
            <a:ext cx="314352" cy="315280"/>
          </a:xfrm>
          <a:custGeom>
            <a:avLst/>
            <a:gdLst>
              <a:gd name="T0" fmla="*/ 186 w 186"/>
              <a:gd name="T1" fmla="*/ 55 h 186"/>
              <a:gd name="T2" fmla="*/ 185 w 186"/>
              <a:gd name="T3" fmla="*/ 53 h 186"/>
              <a:gd name="T4" fmla="*/ 185 w 186"/>
              <a:gd name="T5" fmla="*/ 53 h 186"/>
              <a:gd name="T6" fmla="*/ 185 w 186"/>
              <a:gd name="T7" fmla="*/ 52 h 186"/>
              <a:gd name="T8" fmla="*/ 184 w 186"/>
              <a:gd name="T9" fmla="*/ 52 h 186"/>
              <a:gd name="T10" fmla="*/ 134 w 186"/>
              <a:gd name="T11" fmla="*/ 2 h 186"/>
              <a:gd name="T12" fmla="*/ 134 w 186"/>
              <a:gd name="T13" fmla="*/ 2 h 186"/>
              <a:gd name="T14" fmla="*/ 131 w 186"/>
              <a:gd name="T15" fmla="*/ 0 h 186"/>
              <a:gd name="T16" fmla="*/ 55 w 186"/>
              <a:gd name="T17" fmla="*/ 0 h 186"/>
              <a:gd name="T18" fmla="*/ 52 w 186"/>
              <a:gd name="T19" fmla="*/ 2 h 186"/>
              <a:gd name="T20" fmla="*/ 52 w 186"/>
              <a:gd name="T21" fmla="*/ 2 h 186"/>
              <a:gd name="T22" fmla="*/ 2 w 186"/>
              <a:gd name="T23" fmla="*/ 52 h 186"/>
              <a:gd name="T24" fmla="*/ 1 w 186"/>
              <a:gd name="T25" fmla="*/ 52 h 186"/>
              <a:gd name="T26" fmla="*/ 1 w 186"/>
              <a:gd name="T27" fmla="*/ 53 h 186"/>
              <a:gd name="T28" fmla="*/ 1 w 186"/>
              <a:gd name="T29" fmla="*/ 53 h 186"/>
              <a:gd name="T30" fmla="*/ 0 w 186"/>
              <a:gd name="T31" fmla="*/ 55 h 186"/>
              <a:gd name="T32" fmla="*/ 1 w 186"/>
              <a:gd name="T33" fmla="*/ 58 h 186"/>
              <a:gd name="T34" fmla="*/ 1 w 186"/>
              <a:gd name="T35" fmla="*/ 58 h 186"/>
              <a:gd name="T36" fmla="*/ 90 w 186"/>
              <a:gd name="T37" fmla="*/ 184 h 186"/>
              <a:gd name="T38" fmla="*/ 90 w 186"/>
              <a:gd name="T39" fmla="*/ 184 h 186"/>
              <a:gd name="T40" fmla="*/ 93 w 186"/>
              <a:gd name="T41" fmla="*/ 186 h 186"/>
              <a:gd name="T42" fmla="*/ 96 w 186"/>
              <a:gd name="T43" fmla="*/ 184 h 186"/>
              <a:gd name="T44" fmla="*/ 96 w 186"/>
              <a:gd name="T45" fmla="*/ 184 h 186"/>
              <a:gd name="T46" fmla="*/ 185 w 186"/>
              <a:gd name="T47" fmla="*/ 58 h 186"/>
              <a:gd name="T48" fmla="*/ 185 w 186"/>
              <a:gd name="T49" fmla="*/ 58 h 186"/>
              <a:gd name="T50" fmla="*/ 186 w 186"/>
              <a:gd name="T51" fmla="*/ 55 h 186"/>
              <a:gd name="T52" fmla="*/ 129 w 186"/>
              <a:gd name="T53" fmla="*/ 9 h 186"/>
              <a:gd name="T54" fmla="*/ 171 w 186"/>
              <a:gd name="T55" fmla="*/ 51 h 186"/>
              <a:gd name="T56" fmla="*/ 134 w 186"/>
              <a:gd name="T57" fmla="*/ 51 h 186"/>
              <a:gd name="T58" fmla="*/ 112 w 186"/>
              <a:gd name="T59" fmla="*/ 9 h 186"/>
              <a:gd name="T60" fmla="*/ 129 w 186"/>
              <a:gd name="T61" fmla="*/ 9 h 186"/>
              <a:gd name="T62" fmla="*/ 103 w 186"/>
              <a:gd name="T63" fmla="*/ 9 h 186"/>
              <a:gd name="T64" fmla="*/ 124 w 186"/>
              <a:gd name="T65" fmla="*/ 51 h 186"/>
              <a:gd name="T66" fmla="*/ 62 w 186"/>
              <a:gd name="T67" fmla="*/ 51 h 186"/>
              <a:gd name="T68" fmla="*/ 83 w 186"/>
              <a:gd name="T69" fmla="*/ 9 h 186"/>
              <a:gd name="T70" fmla="*/ 103 w 186"/>
              <a:gd name="T71" fmla="*/ 9 h 186"/>
              <a:gd name="T72" fmla="*/ 57 w 186"/>
              <a:gd name="T73" fmla="*/ 9 h 186"/>
              <a:gd name="T74" fmla="*/ 74 w 186"/>
              <a:gd name="T75" fmla="*/ 9 h 186"/>
              <a:gd name="T76" fmla="*/ 52 w 186"/>
              <a:gd name="T77" fmla="*/ 51 h 186"/>
              <a:gd name="T78" fmla="*/ 14 w 186"/>
              <a:gd name="T79" fmla="*/ 51 h 186"/>
              <a:gd name="T80" fmla="*/ 57 w 186"/>
              <a:gd name="T81" fmla="*/ 9 h 186"/>
              <a:gd name="T82" fmla="*/ 12 w 186"/>
              <a:gd name="T83" fmla="*/ 59 h 186"/>
              <a:gd name="T84" fmla="*/ 52 w 186"/>
              <a:gd name="T85" fmla="*/ 59 h 186"/>
              <a:gd name="T86" fmla="*/ 81 w 186"/>
              <a:gd name="T87" fmla="*/ 158 h 186"/>
              <a:gd name="T88" fmla="*/ 12 w 186"/>
              <a:gd name="T89" fmla="*/ 59 h 186"/>
              <a:gd name="T90" fmla="*/ 93 w 186"/>
              <a:gd name="T91" fmla="*/ 167 h 186"/>
              <a:gd name="T92" fmla="*/ 61 w 186"/>
              <a:gd name="T93" fmla="*/ 59 h 186"/>
              <a:gd name="T94" fmla="*/ 125 w 186"/>
              <a:gd name="T95" fmla="*/ 59 h 186"/>
              <a:gd name="T96" fmla="*/ 93 w 186"/>
              <a:gd name="T97" fmla="*/ 167 h 186"/>
              <a:gd name="T98" fmla="*/ 105 w 186"/>
              <a:gd name="T99" fmla="*/ 158 h 186"/>
              <a:gd name="T100" fmla="*/ 134 w 186"/>
              <a:gd name="T101" fmla="*/ 59 h 186"/>
              <a:gd name="T102" fmla="*/ 173 w 186"/>
              <a:gd name="T103" fmla="*/ 59 h 186"/>
              <a:gd name="T104" fmla="*/ 105 w 186"/>
              <a:gd name="T105" fmla="*/ 158 h 1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86" h="186">
                <a:moveTo>
                  <a:pt x="186" y="55"/>
                </a:moveTo>
                <a:cubicBezTo>
                  <a:pt x="186" y="54"/>
                  <a:pt x="185" y="53"/>
                  <a:pt x="185" y="53"/>
                </a:cubicBezTo>
                <a:cubicBezTo>
                  <a:pt x="185" y="53"/>
                  <a:pt x="185" y="53"/>
                  <a:pt x="185" y="53"/>
                </a:cubicBezTo>
                <a:cubicBezTo>
                  <a:pt x="185" y="52"/>
                  <a:pt x="185" y="52"/>
                  <a:pt x="185" y="52"/>
                </a:cubicBezTo>
                <a:cubicBezTo>
                  <a:pt x="185" y="52"/>
                  <a:pt x="184" y="52"/>
                  <a:pt x="184" y="52"/>
                </a:cubicBezTo>
                <a:cubicBezTo>
                  <a:pt x="134" y="2"/>
                  <a:pt x="134" y="2"/>
                  <a:pt x="134" y="2"/>
                </a:cubicBezTo>
                <a:cubicBezTo>
                  <a:pt x="134" y="2"/>
                  <a:pt x="134" y="2"/>
                  <a:pt x="134" y="2"/>
                </a:cubicBezTo>
                <a:cubicBezTo>
                  <a:pt x="133" y="1"/>
                  <a:pt x="132" y="0"/>
                  <a:pt x="131" y="0"/>
                </a:cubicBezTo>
                <a:cubicBezTo>
                  <a:pt x="55" y="0"/>
                  <a:pt x="55" y="0"/>
                  <a:pt x="55" y="0"/>
                </a:cubicBezTo>
                <a:cubicBezTo>
                  <a:pt x="54" y="0"/>
                  <a:pt x="52" y="1"/>
                  <a:pt x="52" y="2"/>
                </a:cubicBezTo>
                <a:cubicBezTo>
                  <a:pt x="52" y="2"/>
                  <a:pt x="52" y="2"/>
                  <a:pt x="52" y="2"/>
                </a:cubicBezTo>
                <a:cubicBezTo>
                  <a:pt x="2" y="52"/>
                  <a:pt x="2" y="52"/>
                  <a:pt x="2" y="52"/>
                </a:cubicBezTo>
                <a:cubicBezTo>
                  <a:pt x="1" y="52"/>
                  <a:pt x="1" y="52"/>
                  <a:pt x="1" y="52"/>
                </a:cubicBezTo>
                <a:cubicBezTo>
                  <a:pt x="1" y="53"/>
                  <a:pt x="1" y="53"/>
                  <a:pt x="1" y="53"/>
                </a:cubicBezTo>
                <a:cubicBezTo>
                  <a:pt x="1" y="53"/>
                  <a:pt x="1" y="53"/>
                  <a:pt x="1" y="53"/>
                </a:cubicBezTo>
                <a:cubicBezTo>
                  <a:pt x="1" y="53"/>
                  <a:pt x="0" y="54"/>
                  <a:pt x="0" y="55"/>
                </a:cubicBezTo>
                <a:cubicBezTo>
                  <a:pt x="0" y="56"/>
                  <a:pt x="1" y="57"/>
                  <a:pt x="1" y="58"/>
                </a:cubicBezTo>
                <a:cubicBezTo>
                  <a:pt x="1" y="58"/>
                  <a:pt x="1" y="58"/>
                  <a:pt x="1" y="58"/>
                </a:cubicBezTo>
                <a:cubicBezTo>
                  <a:pt x="90" y="184"/>
                  <a:pt x="90" y="184"/>
                  <a:pt x="90" y="184"/>
                </a:cubicBezTo>
                <a:cubicBezTo>
                  <a:pt x="90" y="184"/>
                  <a:pt x="90" y="184"/>
                  <a:pt x="90" y="184"/>
                </a:cubicBezTo>
                <a:cubicBezTo>
                  <a:pt x="90" y="185"/>
                  <a:pt x="92" y="186"/>
                  <a:pt x="93" y="186"/>
                </a:cubicBezTo>
                <a:cubicBezTo>
                  <a:pt x="94" y="186"/>
                  <a:pt x="95" y="185"/>
                  <a:pt x="96" y="184"/>
                </a:cubicBezTo>
                <a:cubicBezTo>
                  <a:pt x="96" y="184"/>
                  <a:pt x="96" y="184"/>
                  <a:pt x="96" y="184"/>
                </a:cubicBezTo>
                <a:cubicBezTo>
                  <a:pt x="185" y="58"/>
                  <a:pt x="185" y="58"/>
                  <a:pt x="185" y="58"/>
                </a:cubicBezTo>
                <a:cubicBezTo>
                  <a:pt x="185" y="58"/>
                  <a:pt x="185" y="58"/>
                  <a:pt x="185" y="58"/>
                </a:cubicBezTo>
                <a:cubicBezTo>
                  <a:pt x="185" y="57"/>
                  <a:pt x="186" y="56"/>
                  <a:pt x="186" y="55"/>
                </a:cubicBezTo>
                <a:close/>
                <a:moveTo>
                  <a:pt x="129" y="9"/>
                </a:moveTo>
                <a:cubicBezTo>
                  <a:pt x="171" y="51"/>
                  <a:pt x="171" y="51"/>
                  <a:pt x="171" y="51"/>
                </a:cubicBezTo>
                <a:cubicBezTo>
                  <a:pt x="134" y="51"/>
                  <a:pt x="134" y="51"/>
                  <a:pt x="134" y="51"/>
                </a:cubicBezTo>
                <a:cubicBezTo>
                  <a:pt x="112" y="9"/>
                  <a:pt x="112" y="9"/>
                  <a:pt x="112" y="9"/>
                </a:cubicBezTo>
                <a:lnTo>
                  <a:pt x="129" y="9"/>
                </a:lnTo>
                <a:close/>
                <a:moveTo>
                  <a:pt x="103" y="9"/>
                </a:moveTo>
                <a:cubicBezTo>
                  <a:pt x="124" y="51"/>
                  <a:pt x="124" y="51"/>
                  <a:pt x="124" y="51"/>
                </a:cubicBezTo>
                <a:cubicBezTo>
                  <a:pt x="62" y="51"/>
                  <a:pt x="62" y="51"/>
                  <a:pt x="62" y="51"/>
                </a:cubicBezTo>
                <a:cubicBezTo>
                  <a:pt x="83" y="9"/>
                  <a:pt x="83" y="9"/>
                  <a:pt x="83" y="9"/>
                </a:cubicBezTo>
                <a:lnTo>
                  <a:pt x="103" y="9"/>
                </a:lnTo>
                <a:close/>
                <a:moveTo>
                  <a:pt x="57" y="9"/>
                </a:moveTo>
                <a:cubicBezTo>
                  <a:pt x="74" y="9"/>
                  <a:pt x="74" y="9"/>
                  <a:pt x="74" y="9"/>
                </a:cubicBezTo>
                <a:cubicBezTo>
                  <a:pt x="52" y="51"/>
                  <a:pt x="52" y="51"/>
                  <a:pt x="52" y="51"/>
                </a:cubicBezTo>
                <a:cubicBezTo>
                  <a:pt x="14" y="51"/>
                  <a:pt x="14" y="51"/>
                  <a:pt x="14" y="51"/>
                </a:cubicBezTo>
                <a:lnTo>
                  <a:pt x="57" y="9"/>
                </a:lnTo>
                <a:close/>
                <a:moveTo>
                  <a:pt x="12" y="59"/>
                </a:moveTo>
                <a:cubicBezTo>
                  <a:pt x="52" y="59"/>
                  <a:pt x="52" y="59"/>
                  <a:pt x="52" y="59"/>
                </a:cubicBezTo>
                <a:cubicBezTo>
                  <a:pt x="81" y="158"/>
                  <a:pt x="81" y="158"/>
                  <a:pt x="81" y="158"/>
                </a:cubicBezTo>
                <a:lnTo>
                  <a:pt x="12" y="59"/>
                </a:lnTo>
                <a:close/>
                <a:moveTo>
                  <a:pt x="93" y="167"/>
                </a:moveTo>
                <a:cubicBezTo>
                  <a:pt x="61" y="59"/>
                  <a:pt x="61" y="59"/>
                  <a:pt x="61" y="59"/>
                </a:cubicBezTo>
                <a:cubicBezTo>
                  <a:pt x="125" y="59"/>
                  <a:pt x="125" y="59"/>
                  <a:pt x="125" y="59"/>
                </a:cubicBezTo>
                <a:lnTo>
                  <a:pt x="93" y="167"/>
                </a:lnTo>
                <a:close/>
                <a:moveTo>
                  <a:pt x="105" y="158"/>
                </a:moveTo>
                <a:cubicBezTo>
                  <a:pt x="134" y="59"/>
                  <a:pt x="134" y="59"/>
                  <a:pt x="134" y="59"/>
                </a:cubicBezTo>
                <a:cubicBezTo>
                  <a:pt x="173" y="59"/>
                  <a:pt x="173" y="59"/>
                  <a:pt x="173" y="59"/>
                </a:cubicBezTo>
                <a:lnTo>
                  <a:pt x="105" y="15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l Sans MT" panose="020B0502020104020203" pitchFamily="34" charset="0"/>
            </a:endParaRP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2CF3F663-4AE3-7640-6C3D-4155AEE1246D}"/>
              </a:ext>
            </a:extLst>
          </p:cNvPr>
          <p:cNvCxnSpPr/>
          <p:nvPr/>
        </p:nvCxnSpPr>
        <p:spPr>
          <a:xfrm flipV="1">
            <a:off x="7182323" y="3082747"/>
            <a:ext cx="0" cy="356708"/>
          </a:xfrm>
          <a:prstGeom prst="line">
            <a:avLst/>
          </a:prstGeom>
          <a:noFill/>
          <a:ln w="9525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miter lim="800000"/>
          </a:ln>
          <a:effectLst/>
        </p:spPr>
      </p:cxnSp>
      <p:sp>
        <p:nvSpPr>
          <p:cNvPr id="38" name="Freeform 167">
            <a:extLst>
              <a:ext uri="{FF2B5EF4-FFF2-40B4-BE49-F238E27FC236}">
                <a16:creationId xmlns:a16="http://schemas.microsoft.com/office/drawing/2014/main" id="{2B1F481A-0AA1-52E3-D878-8EE1DA3926B9}"/>
              </a:ext>
            </a:extLst>
          </p:cNvPr>
          <p:cNvSpPr>
            <a:spLocks noEditPoints="1"/>
          </p:cNvSpPr>
          <p:nvPr/>
        </p:nvSpPr>
        <p:spPr bwMode="auto">
          <a:xfrm>
            <a:off x="8415079" y="3811501"/>
            <a:ext cx="171125" cy="315280"/>
          </a:xfrm>
          <a:custGeom>
            <a:avLst/>
            <a:gdLst>
              <a:gd name="T0" fmla="*/ 101 w 101"/>
              <a:gd name="T1" fmla="*/ 72 h 186"/>
              <a:gd name="T2" fmla="*/ 97 w 101"/>
              <a:gd name="T3" fmla="*/ 68 h 186"/>
              <a:gd name="T4" fmla="*/ 64 w 101"/>
              <a:gd name="T5" fmla="*/ 68 h 186"/>
              <a:gd name="T6" fmla="*/ 84 w 101"/>
              <a:gd name="T7" fmla="*/ 6 h 186"/>
              <a:gd name="T8" fmla="*/ 84 w 101"/>
              <a:gd name="T9" fmla="*/ 6 h 186"/>
              <a:gd name="T10" fmla="*/ 85 w 101"/>
              <a:gd name="T11" fmla="*/ 4 h 186"/>
              <a:gd name="T12" fmla="*/ 80 w 101"/>
              <a:gd name="T13" fmla="*/ 0 h 186"/>
              <a:gd name="T14" fmla="*/ 38 w 101"/>
              <a:gd name="T15" fmla="*/ 0 h 186"/>
              <a:gd name="T16" fmla="*/ 34 w 101"/>
              <a:gd name="T17" fmla="*/ 3 h 186"/>
              <a:gd name="T18" fmla="*/ 34 w 101"/>
              <a:gd name="T19" fmla="*/ 3 h 186"/>
              <a:gd name="T20" fmla="*/ 0 w 101"/>
              <a:gd name="T21" fmla="*/ 104 h 186"/>
              <a:gd name="T22" fmla="*/ 0 w 101"/>
              <a:gd name="T23" fmla="*/ 104 h 186"/>
              <a:gd name="T24" fmla="*/ 0 w 101"/>
              <a:gd name="T25" fmla="*/ 106 h 186"/>
              <a:gd name="T26" fmla="*/ 4 w 101"/>
              <a:gd name="T27" fmla="*/ 110 h 186"/>
              <a:gd name="T28" fmla="*/ 42 w 101"/>
              <a:gd name="T29" fmla="*/ 110 h 186"/>
              <a:gd name="T30" fmla="*/ 34 w 101"/>
              <a:gd name="T31" fmla="*/ 181 h 186"/>
              <a:gd name="T32" fmla="*/ 34 w 101"/>
              <a:gd name="T33" fmla="*/ 181 h 186"/>
              <a:gd name="T34" fmla="*/ 34 w 101"/>
              <a:gd name="T35" fmla="*/ 182 h 186"/>
              <a:gd name="T36" fmla="*/ 38 w 101"/>
              <a:gd name="T37" fmla="*/ 186 h 186"/>
              <a:gd name="T38" fmla="*/ 42 w 101"/>
              <a:gd name="T39" fmla="*/ 183 h 186"/>
              <a:gd name="T40" fmla="*/ 42 w 101"/>
              <a:gd name="T41" fmla="*/ 183 h 186"/>
              <a:gd name="T42" fmla="*/ 101 w 101"/>
              <a:gd name="T43" fmla="*/ 74 h 186"/>
              <a:gd name="T44" fmla="*/ 101 w 101"/>
              <a:gd name="T45" fmla="*/ 74 h 186"/>
              <a:gd name="T46" fmla="*/ 101 w 101"/>
              <a:gd name="T47" fmla="*/ 72 h 186"/>
              <a:gd name="T48" fmla="*/ 45 w 101"/>
              <a:gd name="T49" fmla="*/ 160 h 186"/>
              <a:gd name="T50" fmla="*/ 51 w 101"/>
              <a:gd name="T51" fmla="*/ 106 h 186"/>
              <a:gd name="T52" fmla="*/ 51 w 101"/>
              <a:gd name="T53" fmla="*/ 106 h 186"/>
              <a:gd name="T54" fmla="*/ 51 w 101"/>
              <a:gd name="T55" fmla="*/ 106 h 186"/>
              <a:gd name="T56" fmla="*/ 47 w 101"/>
              <a:gd name="T57" fmla="*/ 101 h 186"/>
              <a:gd name="T58" fmla="*/ 10 w 101"/>
              <a:gd name="T59" fmla="*/ 101 h 186"/>
              <a:gd name="T60" fmla="*/ 41 w 101"/>
              <a:gd name="T61" fmla="*/ 9 h 186"/>
              <a:gd name="T62" fmla="*/ 75 w 101"/>
              <a:gd name="T63" fmla="*/ 9 h 186"/>
              <a:gd name="T64" fmla="*/ 54 w 101"/>
              <a:gd name="T65" fmla="*/ 71 h 186"/>
              <a:gd name="T66" fmla="*/ 54 w 101"/>
              <a:gd name="T67" fmla="*/ 71 h 186"/>
              <a:gd name="T68" fmla="*/ 54 w 101"/>
              <a:gd name="T69" fmla="*/ 72 h 186"/>
              <a:gd name="T70" fmla="*/ 58 w 101"/>
              <a:gd name="T71" fmla="*/ 76 h 186"/>
              <a:gd name="T72" fmla="*/ 90 w 101"/>
              <a:gd name="T73" fmla="*/ 76 h 186"/>
              <a:gd name="T74" fmla="*/ 45 w 101"/>
              <a:gd name="T75" fmla="*/ 160 h 1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101" h="186">
                <a:moveTo>
                  <a:pt x="101" y="72"/>
                </a:moveTo>
                <a:cubicBezTo>
                  <a:pt x="101" y="70"/>
                  <a:pt x="100" y="68"/>
                  <a:pt x="97" y="68"/>
                </a:cubicBezTo>
                <a:cubicBezTo>
                  <a:pt x="64" y="68"/>
                  <a:pt x="64" y="68"/>
                  <a:pt x="64" y="68"/>
                </a:cubicBezTo>
                <a:cubicBezTo>
                  <a:pt x="84" y="6"/>
                  <a:pt x="84" y="6"/>
                  <a:pt x="84" y="6"/>
                </a:cubicBezTo>
                <a:cubicBezTo>
                  <a:pt x="84" y="6"/>
                  <a:pt x="84" y="6"/>
                  <a:pt x="84" y="6"/>
                </a:cubicBezTo>
                <a:cubicBezTo>
                  <a:pt x="84" y="5"/>
                  <a:pt x="85" y="5"/>
                  <a:pt x="85" y="4"/>
                </a:cubicBezTo>
                <a:cubicBezTo>
                  <a:pt x="85" y="2"/>
                  <a:pt x="83" y="0"/>
                  <a:pt x="80" y="0"/>
                </a:cubicBezTo>
                <a:cubicBezTo>
                  <a:pt x="38" y="0"/>
                  <a:pt x="38" y="0"/>
                  <a:pt x="38" y="0"/>
                </a:cubicBezTo>
                <a:cubicBezTo>
                  <a:pt x="36" y="0"/>
                  <a:pt x="35" y="1"/>
                  <a:pt x="34" y="3"/>
                </a:cubicBezTo>
                <a:cubicBezTo>
                  <a:pt x="34" y="3"/>
                  <a:pt x="34" y="3"/>
                  <a:pt x="34" y="3"/>
                </a:cubicBezTo>
                <a:cubicBezTo>
                  <a:pt x="0" y="104"/>
                  <a:pt x="0" y="104"/>
                  <a:pt x="0" y="104"/>
                </a:cubicBezTo>
                <a:cubicBezTo>
                  <a:pt x="0" y="104"/>
                  <a:pt x="0" y="104"/>
                  <a:pt x="0" y="104"/>
                </a:cubicBezTo>
                <a:cubicBezTo>
                  <a:pt x="0" y="105"/>
                  <a:pt x="0" y="105"/>
                  <a:pt x="0" y="106"/>
                </a:cubicBezTo>
                <a:cubicBezTo>
                  <a:pt x="0" y="108"/>
                  <a:pt x="2" y="110"/>
                  <a:pt x="4" y="110"/>
                </a:cubicBezTo>
                <a:cubicBezTo>
                  <a:pt x="42" y="110"/>
                  <a:pt x="42" y="110"/>
                  <a:pt x="42" y="110"/>
                </a:cubicBezTo>
                <a:cubicBezTo>
                  <a:pt x="34" y="181"/>
                  <a:pt x="34" y="181"/>
                  <a:pt x="34" y="181"/>
                </a:cubicBezTo>
                <a:cubicBezTo>
                  <a:pt x="34" y="181"/>
                  <a:pt x="34" y="181"/>
                  <a:pt x="34" y="181"/>
                </a:cubicBezTo>
                <a:cubicBezTo>
                  <a:pt x="34" y="181"/>
                  <a:pt x="34" y="181"/>
                  <a:pt x="34" y="182"/>
                </a:cubicBezTo>
                <a:cubicBezTo>
                  <a:pt x="34" y="184"/>
                  <a:pt x="36" y="186"/>
                  <a:pt x="38" y="186"/>
                </a:cubicBezTo>
                <a:cubicBezTo>
                  <a:pt x="40" y="186"/>
                  <a:pt x="41" y="185"/>
                  <a:pt x="42" y="183"/>
                </a:cubicBezTo>
                <a:cubicBezTo>
                  <a:pt x="42" y="183"/>
                  <a:pt x="42" y="183"/>
                  <a:pt x="42" y="183"/>
                </a:cubicBezTo>
                <a:cubicBezTo>
                  <a:pt x="101" y="74"/>
                  <a:pt x="101" y="74"/>
                  <a:pt x="101" y="74"/>
                </a:cubicBezTo>
                <a:cubicBezTo>
                  <a:pt x="101" y="74"/>
                  <a:pt x="101" y="74"/>
                  <a:pt x="101" y="74"/>
                </a:cubicBezTo>
                <a:cubicBezTo>
                  <a:pt x="101" y="73"/>
                  <a:pt x="101" y="73"/>
                  <a:pt x="101" y="72"/>
                </a:cubicBezTo>
                <a:close/>
                <a:moveTo>
                  <a:pt x="45" y="160"/>
                </a:moveTo>
                <a:cubicBezTo>
                  <a:pt x="51" y="106"/>
                  <a:pt x="51" y="106"/>
                  <a:pt x="51" y="106"/>
                </a:cubicBezTo>
                <a:cubicBezTo>
                  <a:pt x="51" y="106"/>
                  <a:pt x="51" y="106"/>
                  <a:pt x="51" y="106"/>
                </a:cubicBezTo>
                <a:cubicBezTo>
                  <a:pt x="51" y="106"/>
                  <a:pt x="51" y="106"/>
                  <a:pt x="51" y="106"/>
                </a:cubicBezTo>
                <a:cubicBezTo>
                  <a:pt x="51" y="103"/>
                  <a:pt x="49" y="101"/>
                  <a:pt x="47" y="101"/>
                </a:cubicBezTo>
                <a:cubicBezTo>
                  <a:pt x="10" y="101"/>
                  <a:pt x="10" y="101"/>
                  <a:pt x="10" y="101"/>
                </a:cubicBezTo>
                <a:cubicBezTo>
                  <a:pt x="41" y="9"/>
                  <a:pt x="41" y="9"/>
                  <a:pt x="41" y="9"/>
                </a:cubicBezTo>
                <a:cubicBezTo>
                  <a:pt x="75" y="9"/>
                  <a:pt x="75" y="9"/>
                  <a:pt x="75" y="9"/>
                </a:cubicBezTo>
                <a:cubicBezTo>
                  <a:pt x="54" y="71"/>
                  <a:pt x="54" y="71"/>
                  <a:pt x="54" y="71"/>
                </a:cubicBezTo>
                <a:cubicBezTo>
                  <a:pt x="54" y="71"/>
                  <a:pt x="54" y="71"/>
                  <a:pt x="54" y="71"/>
                </a:cubicBezTo>
                <a:cubicBezTo>
                  <a:pt x="54" y="71"/>
                  <a:pt x="54" y="71"/>
                  <a:pt x="54" y="72"/>
                </a:cubicBezTo>
                <a:cubicBezTo>
                  <a:pt x="54" y="74"/>
                  <a:pt x="56" y="76"/>
                  <a:pt x="58" y="76"/>
                </a:cubicBezTo>
                <a:cubicBezTo>
                  <a:pt x="90" y="76"/>
                  <a:pt x="90" y="76"/>
                  <a:pt x="90" y="76"/>
                </a:cubicBezTo>
                <a:lnTo>
                  <a:pt x="45" y="16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l Sans MT" panose="020B0502020104020203" pitchFamily="34" charset="0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040CB71D-1F67-78B3-EBC1-112844CFF16C}"/>
              </a:ext>
            </a:extLst>
          </p:cNvPr>
          <p:cNvSpPr txBox="1"/>
          <p:nvPr/>
        </p:nvSpPr>
        <p:spPr>
          <a:xfrm>
            <a:off x="4948747" y="762102"/>
            <a:ext cx="2508481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defTabSz="914126">
              <a:defRPr/>
            </a:pPr>
            <a:r>
              <a:rPr lang="en-US" sz="1200" b="1" u="sng" kern="0" dirty="0">
                <a:solidFill>
                  <a:srgbClr val="646363"/>
                </a:solidFill>
                <a:latin typeface="Gill Sans MT" panose="020B0502020104020203" pitchFamily="34" charset="0"/>
                <a:cs typeface="Arial" pitchFamily="34" charset="0"/>
              </a:rPr>
              <a:t>Sprint 3</a:t>
            </a:r>
          </a:p>
          <a:p>
            <a:pPr marL="171450" lvl="0" indent="-171450" defTabSz="914126"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solidFill>
                  <a:srgbClr val="646363"/>
                </a:solidFill>
                <a:latin typeface="Gill Sans MT" panose="020B0502020104020203" pitchFamily="34" charset="0"/>
                <a:cs typeface="Arial" pitchFamily="34" charset="0"/>
              </a:rPr>
              <a:t>UI Development</a:t>
            </a:r>
          </a:p>
          <a:p>
            <a:pPr marL="628650" lvl="1" indent="-171450" defTabSz="914126"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solidFill>
                  <a:srgbClr val="646363"/>
                </a:solidFill>
                <a:latin typeface="Gill Sans MT" panose="020B0502020104020203" pitchFamily="34" charset="0"/>
                <a:cs typeface="Arial" pitchFamily="34" charset="0"/>
              </a:rPr>
              <a:t>IP Imports from </a:t>
            </a:r>
            <a:r>
              <a:rPr lang="en-US" sz="1200" kern="0" dirty="0" err="1">
                <a:solidFill>
                  <a:srgbClr val="646363"/>
                </a:solidFill>
                <a:latin typeface="Gill Sans MT" panose="020B0502020104020203" pitchFamily="34" charset="0"/>
                <a:cs typeface="Arial" pitchFamily="34" charset="0"/>
              </a:rPr>
              <a:t>Sharepoint</a:t>
            </a:r>
            <a:endParaRPr lang="en-US" sz="1200" kern="0" dirty="0">
              <a:solidFill>
                <a:srgbClr val="646363"/>
              </a:solidFill>
              <a:latin typeface="Gill Sans MT" panose="020B0502020104020203" pitchFamily="34" charset="0"/>
              <a:cs typeface="Arial" pitchFamily="34" charset="0"/>
            </a:endParaRPr>
          </a:p>
          <a:p>
            <a:pPr marL="628650" lvl="1" indent="-171450" defTabSz="914126"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solidFill>
                  <a:srgbClr val="646363"/>
                </a:solidFill>
                <a:latin typeface="Gill Sans MT" panose="020B0502020104020203" pitchFamily="34" charset="0"/>
                <a:cs typeface="Arial" pitchFamily="34" charset="0"/>
              </a:rPr>
              <a:t>IP Assignment</a:t>
            </a:r>
          </a:p>
          <a:p>
            <a:pPr marL="628650" lvl="1" indent="-171450" defTabSz="914126"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solidFill>
                  <a:srgbClr val="646363"/>
                </a:solidFill>
                <a:latin typeface="Gill Sans MT" panose="020B0502020104020203" pitchFamily="34" charset="0"/>
                <a:cs typeface="Arial" pitchFamily="34" charset="0"/>
              </a:rPr>
              <a:t>Redirect to IP subnet calculator external website</a:t>
            </a:r>
          </a:p>
          <a:p>
            <a:pPr marL="628650" lvl="1" indent="-171450" defTabSz="914126"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solidFill>
                  <a:srgbClr val="646363"/>
                </a:solidFill>
                <a:latin typeface="Gill Sans MT" panose="020B0502020104020203" pitchFamily="34" charset="0"/>
                <a:cs typeface="Arial" pitchFamily="34" charset="0"/>
              </a:rPr>
              <a:t>Dashboard Implementation</a:t>
            </a:r>
          </a:p>
          <a:p>
            <a:pPr marL="628650" lvl="1" indent="-171450" defTabSz="914126"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solidFill>
                  <a:srgbClr val="646363"/>
                </a:solidFill>
                <a:latin typeface="Gill Sans MT" panose="020B0502020104020203" pitchFamily="34" charset="0"/>
                <a:cs typeface="Arial" pitchFamily="34" charset="0"/>
              </a:rPr>
              <a:t>Alert/Email on IP assignment</a:t>
            </a:r>
          </a:p>
          <a:p>
            <a:pPr lvl="0" defTabSz="914126">
              <a:defRPr/>
            </a:pPr>
            <a:endParaRPr lang="en-US" sz="1200" kern="0" dirty="0">
              <a:solidFill>
                <a:srgbClr val="646363"/>
              </a:solidFill>
              <a:latin typeface="Gill Sans MT" panose="020B0502020104020203" pitchFamily="34" charset="0"/>
              <a:cs typeface="Arial" pitchFamily="34" charset="0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8F842D69-5FE2-DC87-E13A-F7F8246171FA}"/>
              </a:ext>
            </a:extLst>
          </p:cNvPr>
          <p:cNvSpPr txBox="1"/>
          <p:nvPr/>
        </p:nvSpPr>
        <p:spPr>
          <a:xfrm>
            <a:off x="7729042" y="1130262"/>
            <a:ext cx="260282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defTabSz="914126">
              <a:defRPr/>
            </a:pPr>
            <a:r>
              <a:rPr lang="en-US" sz="1200" b="1" u="sng" kern="0" dirty="0">
                <a:solidFill>
                  <a:srgbClr val="646363"/>
                </a:solidFill>
                <a:latin typeface="Gill Sans MT" panose="020B0502020104020203" pitchFamily="34" charset="0"/>
                <a:cs typeface="Arial" pitchFamily="34" charset="0"/>
              </a:rPr>
              <a:t>Deployment</a:t>
            </a:r>
          </a:p>
          <a:p>
            <a:pPr marL="171450" lvl="0" indent="-171450" defTabSz="914126"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solidFill>
                  <a:srgbClr val="646363"/>
                </a:solidFill>
                <a:latin typeface="Gill Sans MT" panose="020B0502020104020203" pitchFamily="34" charset="0"/>
                <a:cs typeface="Arial" pitchFamily="34" charset="0"/>
              </a:rPr>
              <a:t>UAT</a:t>
            </a:r>
          </a:p>
          <a:p>
            <a:pPr marL="171450" lvl="0" indent="-171450" defTabSz="914126"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solidFill>
                  <a:srgbClr val="646363"/>
                </a:solidFill>
                <a:latin typeface="Gill Sans MT" panose="020B0502020104020203" pitchFamily="34" charset="0"/>
                <a:cs typeface="Arial" pitchFamily="34" charset="0"/>
              </a:rPr>
              <a:t>Deployment preparation</a:t>
            </a:r>
          </a:p>
          <a:p>
            <a:pPr marL="171450" lvl="0" indent="-171450" defTabSz="914126"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solidFill>
                  <a:srgbClr val="646363"/>
                </a:solidFill>
                <a:latin typeface="Gill Sans MT" panose="020B0502020104020203" pitchFamily="34" charset="0"/>
                <a:cs typeface="Arial" pitchFamily="34" charset="0"/>
              </a:rPr>
              <a:t>Prod Deployment &amp; Go-live</a:t>
            </a:r>
          </a:p>
          <a:p>
            <a:pPr marL="171450" lvl="0" indent="-171450" defTabSz="914126"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solidFill>
                  <a:srgbClr val="646363"/>
                </a:solidFill>
                <a:latin typeface="Gill Sans MT" panose="020B0502020104020203" pitchFamily="34" charset="0"/>
                <a:cs typeface="Arial" pitchFamily="34" charset="0"/>
              </a:rPr>
              <a:t>Post Go-live Support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1695315E-9D2F-BE96-DE73-616059839323}"/>
              </a:ext>
            </a:extLst>
          </p:cNvPr>
          <p:cNvSpPr txBox="1"/>
          <p:nvPr/>
        </p:nvSpPr>
        <p:spPr>
          <a:xfrm>
            <a:off x="1296365" y="3584653"/>
            <a:ext cx="200881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defTabSz="914126">
              <a:defRPr/>
            </a:pPr>
            <a:r>
              <a:rPr lang="en-US" sz="1200" b="1" u="sng" kern="0" dirty="0">
                <a:solidFill>
                  <a:srgbClr val="646363"/>
                </a:solidFill>
                <a:latin typeface="Gill Sans MT" panose="020B0502020104020203" pitchFamily="34" charset="0"/>
                <a:cs typeface="Arial" pitchFamily="34" charset="0"/>
              </a:rPr>
              <a:t>Sprint 0</a:t>
            </a:r>
          </a:p>
          <a:p>
            <a:pPr marL="171450" lvl="0" indent="-171450" defTabSz="914126"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solidFill>
                  <a:srgbClr val="646363"/>
                </a:solidFill>
                <a:latin typeface="Gill Sans MT" panose="020B0502020104020203" pitchFamily="34" charset="0"/>
                <a:cs typeface="Arial" pitchFamily="34" charset="0"/>
              </a:rPr>
              <a:t>Resource on boarding</a:t>
            </a:r>
          </a:p>
          <a:p>
            <a:pPr marL="171450" lvl="0" indent="-171450" defTabSz="914126"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solidFill>
                  <a:srgbClr val="646363"/>
                </a:solidFill>
                <a:latin typeface="Gill Sans MT" panose="020B0502020104020203" pitchFamily="34" charset="0"/>
                <a:cs typeface="Arial" pitchFamily="34" charset="0"/>
              </a:rPr>
              <a:t>Requirement finalization</a:t>
            </a:r>
          </a:p>
          <a:p>
            <a:pPr marL="171450" lvl="0" indent="-171450" defTabSz="914126"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solidFill>
                  <a:srgbClr val="646363"/>
                </a:solidFill>
                <a:latin typeface="Gill Sans MT" panose="020B0502020104020203" pitchFamily="34" charset="0"/>
                <a:cs typeface="Arial" pitchFamily="34" charset="0"/>
              </a:rPr>
              <a:t>Sprint planning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78B70293-E92D-C081-0FCE-53F5B0FC0206}"/>
              </a:ext>
            </a:extLst>
          </p:cNvPr>
          <p:cNvSpPr txBox="1"/>
          <p:nvPr/>
        </p:nvSpPr>
        <p:spPr>
          <a:xfrm>
            <a:off x="3710895" y="3307654"/>
            <a:ext cx="2527179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defTabSz="914126">
              <a:defRPr/>
            </a:pPr>
            <a:r>
              <a:rPr lang="en-US" sz="1200" b="1" u="sng" kern="0" dirty="0">
                <a:solidFill>
                  <a:srgbClr val="646363"/>
                </a:solidFill>
                <a:latin typeface="Gill Sans MT" panose="020B0502020104020203" pitchFamily="34" charset="0"/>
                <a:cs typeface="Arial" pitchFamily="34" charset="0"/>
              </a:rPr>
              <a:t>Sprint 2</a:t>
            </a:r>
          </a:p>
          <a:p>
            <a:pPr marL="171450" lvl="0" indent="-171450" defTabSz="914126"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solidFill>
                  <a:srgbClr val="646363"/>
                </a:solidFill>
                <a:latin typeface="Gill Sans MT" panose="020B0502020104020203" pitchFamily="34" charset="0"/>
                <a:cs typeface="Arial" pitchFamily="34" charset="0"/>
              </a:rPr>
              <a:t>UI Development</a:t>
            </a:r>
          </a:p>
          <a:p>
            <a:pPr marL="628650" lvl="1" indent="-171450" defTabSz="914126"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solidFill>
                  <a:srgbClr val="646363"/>
                </a:solidFill>
                <a:latin typeface="Gill Sans MT" panose="020B0502020104020203" pitchFamily="34" charset="0"/>
                <a:cs typeface="Arial" pitchFamily="34" charset="0"/>
              </a:rPr>
              <a:t>Navigation Menu</a:t>
            </a:r>
          </a:p>
          <a:p>
            <a:pPr marL="628650" lvl="1" indent="-171450" defTabSz="914126"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solidFill>
                  <a:srgbClr val="646363"/>
                </a:solidFill>
                <a:latin typeface="Gill Sans MT" panose="020B0502020104020203" pitchFamily="34" charset="0"/>
                <a:cs typeface="Arial" pitchFamily="34" charset="0"/>
              </a:rPr>
              <a:t>Login using Azure AD</a:t>
            </a:r>
          </a:p>
          <a:p>
            <a:pPr marL="628650" lvl="1" indent="-171450" defTabSz="914126"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solidFill>
                  <a:srgbClr val="646363"/>
                </a:solidFill>
                <a:latin typeface="Gill Sans MT" panose="020B0502020104020203" pitchFamily="34" charset="0"/>
                <a:cs typeface="Arial" pitchFamily="34" charset="0"/>
              </a:rPr>
              <a:t>Applying Roles</a:t>
            </a:r>
          </a:p>
          <a:p>
            <a:pPr marL="628650" lvl="1" indent="-171450" defTabSz="914126"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solidFill>
                  <a:srgbClr val="646363"/>
                </a:solidFill>
                <a:latin typeface="Gill Sans MT" panose="020B0502020104020203" pitchFamily="34" charset="0"/>
                <a:cs typeface="Arial" pitchFamily="34" charset="0"/>
              </a:rPr>
              <a:t>API for Bulk import Functionality</a:t>
            </a:r>
          </a:p>
          <a:p>
            <a:pPr marL="628650" lvl="1" indent="-171450" defTabSz="914126"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solidFill>
                  <a:srgbClr val="646363"/>
                </a:solidFill>
                <a:latin typeface="Gill Sans MT" panose="020B0502020104020203" pitchFamily="34" charset="0"/>
                <a:cs typeface="Arial" pitchFamily="34" charset="0"/>
              </a:rPr>
              <a:t>Applying Search Filers</a:t>
            </a:r>
          </a:p>
          <a:p>
            <a:pPr marL="628650" lvl="1" indent="-171450" defTabSz="914126"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solidFill>
                  <a:srgbClr val="646363"/>
                </a:solidFill>
                <a:latin typeface="Gill Sans MT" panose="020B0502020104020203" pitchFamily="34" charset="0"/>
                <a:cs typeface="Arial" pitchFamily="34" charset="0"/>
              </a:rPr>
              <a:t>IP history Grid</a:t>
            </a:r>
          </a:p>
          <a:p>
            <a:pPr lvl="1" defTabSz="914126">
              <a:defRPr/>
            </a:pPr>
            <a:endParaRPr lang="en-US" sz="1200" kern="0" dirty="0">
              <a:solidFill>
                <a:srgbClr val="646363"/>
              </a:solidFill>
              <a:latin typeface="Gill Sans MT" panose="020B0502020104020203" pitchFamily="34" charset="0"/>
              <a:cs typeface="Arial" pitchFamily="34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948FB4FD-C228-0070-5B25-AF3DB1A6AB39}"/>
              </a:ext>
            </a:extLst>
          </p:cNvPr>
          <p:cNvSpPr txBox="1"/>
          <p:nvPr/>
        </p:nvSpPr>
        <p:spPr>
          <a:xfrm>
            <a:off x="6439412" y="3584653"/>
            <a:ext cx="1930961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defTabSz="914126">
              <a:defRPr/>
            </a:pPr>
            <a:r>
              <a:rPr lang="en-US" sz="1200" b="1" u="sng" kern="0" dirty="0">
                <a:solidFill>
                  <a:srgbClr val="646363"/>
                </a:solidFill>
                <a:latin typeface="Gill Sans MT" panose="020B0502020104020203" pitchFamily="34" charset="0"/>
                <a:cs typeface="Arial" pitchFamily="34" charset="0"/>
              </a:rPr>
              <a:t>Sprint 4</a:t>
            </a:r>
          </a:p>
          <a:p>
            <a:pPr marL="171450" lvl="0" indent="-171450" defTabSz="914126"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solidFill>
                  <a:srgbClr val="646363"/>
                </a:solidFill>
                <a:latin typeface="Gill Sans MT" panose="020B0502020104020203" pitchFamily="34" charset="0"/>
                <a:cs typeface="Arial" pitchFamily="34" charset="0"/>
              </a:rPr>
              <a:t>UAT Environment Preparation</a:t>
            </a:r>
          </a:p>
          <a:p>
            <a:pPr marL="171450" lvl="0" indent="-171450" defTabSz="914126"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solidFill>
                  <a:srgbClr val="646363"/>
                </a:solidFill>
                <a:latin typeface="Gill Sans MT" panose="020B0502020104020203" pitchFamily="34" charset="0"/>
                <a:cs typeface="Arial" pitchFamily="34" charset="0"/>
              </a:rPr>
              <a:t>Unit test and code coverage</a:t>
            </a:r>
          </a:p>
          <a:p>
            <a:pPr marL="171450" lvl="0" indent="-171450" defTabSz="914126"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solidFill>
                  <a:srgbClr val="646363"/>
                </a:solidFill>
                <a:latin typeface="Gill Sans MT" panose="020B0502020104020203" pitchFamily="34" charset="0"/>
                <a:cs typeface="Arial" pitchFamily="34" charset="0"/>
              </a:rPr>
              <a:t>Bulk Import of IPs</a:t>
            </a:r>
          </a:p>
          <a:p>
            <a:pPr marL="171450" lvl="0" indent="-171450" defTabSz="914126"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solidFill>
                  <a:srgbClr val="646363"/>
                </a:solidFill>
                <a:latin typeface="Gill Sans MT" panose="020B0502020104020203" pitchFamily="34" charset="0"/>
                <a:cs typeface="Arial" pitchFamily="34" charset="0"/>
              </a:rPr>
              <a:t>Documentation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3D4EEB7E-79C2-88DF-9098-726A98FD576C}"/>
              </a:ext>
            </a:extLst>
          </p:cNvPr>
          <p:cNvSpPr txBox="1"/>
          <p:nvPr/>
        </p:nvSpPr>
        <p:spPr>
          <a:xfrm>
            <a:off x="0" y="2678011"/>
            <a:ext cx="149266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600" b="1" dirty="0">
                <a:latin typeface="Gill Sans MT" panose="020B0502020104020203" pitchFamily="34" charset="0"/>
              </a:rPr>
              <a:t>Week 1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403BFA59-B7E9-E88F-E346-E5A345EA6D05}"/>
              </a:ext>
            </a:extLst>
          </p:cNvPr>
          <p:cNvSpPr txBox="1"/>
          <p:nvPr/>
        </p:nvSpPr>
        <p:spPr>
          <a:xfrm>
            <a:off x="8979317" y="2716483"/>
            <a:ext cx="17200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latin typeface="Gill Sans MT" panose="020B0502020104020203" pitchFamily="34" charset="0"/>
              </a:rPr>
              <a:t>12</a:t>
            </a:r>
            <a:r>
              <a:rPr lang="en-US" sz="1600" b="1" baseline="30000" dirty="0">
                <a:latin typeface="Gill Sans MT" panose="020B0502020104020203" pitchFamily="34" charset="0"/>
              </a:rPr>
              <a:t>th</a:t>
            </a:r>
            <a:r>
              <a:rPr lang="en-US" sz="1600" b="1" dirty="0">
                <a:latin typeface="Gill Sans MT" panose="020B0502020104020203" pitchFamily="34" charset="0"/>
              </a:rPr>
              <a:t> Week</a:t>
            </a:r>
          </a:p>
        </p:txBody>
      </p:sp>
      <p:graphicFrame>
        <p:nvGraphicFramePr>
          <p:cNvPr id="53" name="Chart 52">
            <a:extLst>
              <a:ext uri="{FF2B5EF4-FFF2-40B4-BE49-F238E27FC236}">
                <a16:creationId xmlns:a16="http://schemas.microsoft.com/office/drawing/2014/main" id="{7EADAC82-5AB1-01F6-1CD5-25ECD32F2B61}"/>
              </a:ext>
            </a:extLst>
          </p:cNvPr>
          <p:cNvGraphicFramePr>
            <a:graphicFrameLocks/>
          </p:cNvGraphicFramePr>
          <p:nvPr/>
        </p:nvGraphicFramePr>
        <p:xfrm>
          <a:off x="8045866" y="3692357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5" name="Right Triangle 54">
            <a:extLst>
              <a:ext uri="{FF2B5EF4-FFF2-40B4-BE49-F238E27FC236}">
                <a16:creationId xmlns:a16="http://schemas.microsoft.com/office/drawing/2014/main" id="{5794D824-D1AB-894A-B6F1-CCDBCB35A74E}"/>
              </a:ext>
            </a:extLst>
          </p:cNvPr>
          <p:cNvSpPr/>
          <p:nvPr/>
        </p:nvSpPr>
        <p:spPr>
          <a:xfrm rot="16864191">
            <a:off x="10961494" y="4230885"/>
            <a:ext cx="251988" cy="244936"/>
          </a:xfrm>
          <a:prstGeom prst="rtTriangle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/>
          </a:p>
        </p:txBody>
      </p:sp>
      <p:sp>
        <p:nvSpPr>
          <p:cNvPr id="56" name="Right Triangle 55">
            <a:extLst>
              <a:ext uri="{FF2B5EF4-FFF2-40B4-BE49-F238E27FC236}">
                <a16:creationId xmlns:a16="http://schemas.microsoft.com/office/drawing/2014/main" id="{8C5F8A92-4FC3-79C0-1EAD-96AC4B37E090}"/>
              </a:ext>
            </a:extLst>
          </p:cNvPr>
          <p:cNvSpPr/>
          <p:nvPr/>
        </p:nvSpPr>
        <p:spPr>
          <a:xfrm rot="8389240">
            <a:off x="9272426" y="4832166"/>
            <a:ext cx="251988" cy="244936"/>
          </a:xfrm>
          <a:prstGeom prst="rtTriangle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/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0690F59C-614D-D569-122B-85AD0321229C}"/>
              </a:ext>
            </a:extLst>
          </p:cNvPr>
          <p:cNvSpPr txBox="1"/>
          <p:nvPr/>
        </p:nvSpPr>
        <p:spPr>
          <a:xfrm>
            <a:off x="9744426" y="4800745"/>
            <a:ext cx="143572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>
                <a:latin typeface="Gill Sans MT" panose="020B0502020104020203" pitchFamily="34" charset="0"/>
              </a:rPr>
              <a:t>2 weeks sprint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9C45DD83-96CC-AA74-BEF8-8BE3121AF78F}"/>
              </a:ext>
            </a:extLst>
          </p:cNvPr>
          <p:cNvSpPr txBox="1"/>
          <p:nvPr/>
        </p:nvSpPr>
        <p:spPr>
          <a:xfrm>
            <a:off x="21694" y="4703057"/>
            <a:ext cx="7435534" cy="1600438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Gill Sans MT" panose="020B0502020104020203" pitchFamily="34" charset="0"/>
                <a:cs typeface="Segoe UI" panose="020B0502040204020203" pitchFamily="34" charset="0"/>
              </a:rPr>
              <a:t>Estimated cost for this project (Phase 1):  Cost :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Gill Sans MT" panose="020B0502020104020203" pitchFamily="34" charset="0"/>
                <a:cs typeface="Segoe UI" panose="020B0502040204020203" pitchFamily="34" charset="0"/>
              </a:rPr>
              <a:t>Estimated timeline : 12 weeks (Including 1 week of warranty support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Gill Sans MT" panose="020B0502020104020203" pitchFamily="34" charset="0"/>
                <a:cs typeface="Segoe UI" panose="020B0502040204020203" pitchFamily="34" charset="0"/>
              </a:rPr>
              <a:t>This is an indicative cost based on the scope understanding &amp; assumptions considered. If there is a change in scope or assumption, will revisit the estimation and will do CR to adjust the timeline and commercial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Gill Sans MT" panose="020B0502020104020203" pitchFamily="34" charset="0"/>
                <a:cs typeface="Segoe UI" panose="020B0502040204020203" pitchFamily="34" charset="0"/>
              </a:rPr>
              <a:t>Phase 2 requirements will be finalized during course of Phase1.</a:t>
            </a:r>
          </a:p>
        </p:txBody>
      </p:sp>
    </p:spTree>
    <p:extLst>
      <p:ext uri="{BB962C8B-B14F-4D97-AF65-F5344CB8AC3E}">
        <p14:creationId xmlns:p14="http://schemas.microsoft.com/office/powerpoint/2010/main" val="276028756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1DF824F-71C3-4EF1-99CC-615E2E1FCEC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02017" y="165928"/>
            <a:ext cx="7903758" cy="596072"/>
          </a:xfrm>
        </p:spPr>
        <p:txBody>
          <a:bodyPr/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IN" cap="none">
                <a:solidFill>
                  <a:schemeClr val="accent5">
                    <a:lumMod val="50000"/>
                  </a:schemeClr>
                </a:solidFill>
                <a:latin typeface="Gill Sans MT"/>
              </a:rPr>
              <a:t>Phase 1- Resource Roles 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8BC7E35-9F79-4919-8F3E-A5D2EC5E501A}"/>
              </a:ext>
            </a:extLst>
          </p:cNvPr>
          <p:cNvSpPr/>
          <p:nvPr/>
        </p:nvSpPr>
        <p:spPr>
          <a:xfrm>
            <a:off x="1788940" y="2104681"/>
            <a:ext cx="192206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6213" indent="-176213"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200">
                <a:solidFill>
                  <a:schemeClr val="bg1"/>
                </a:solidFill>
              </a:rPr>
              <a:t>This is a placeholder text. All phrases can be replaced with your own text.</a:t>
            </a:r>
          </a:p>
        </p:txBody>
      </p:sp>
      <p:graphicFrame>
        <p:nvGraphicFramePr>
          <p:cNvPr id="8" name="Table 3">
            <a:extLst>
              <a:ext uri="{FF2B5EF4-FFF2-40B4-BE49-F238E27FC236}">
                <a16:creationId xmlns:a16="http://schemas.microsoft.com/office/drawing/2014/main" id="{57D1964D-B381-D210-A67F-D6209C163F6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77050989"/>
              </p:ext>
            </p:extLst>
          </p:nvPr>
        </p:nvGraphicFramePr>
        <p:xfrm>
          <a:off x="202016" y="1056759"/>
          <a:ext cx="11285133" cy="2517726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958874">
                  <a:extLst>
                    <a:ext uri="{9D8B030D-6E8A-4147-A177-3AD203B41FA5}">
                      <a16:colId xmlns:a16="http://schemas.microsoft.com/office/drawing/2014/main" val="3823519450"/>
                    </a:ext>
                  </a:extLst>
                </a:gridCol>
                <a:gridCol w="731520">
                  <a:extLst>
                    <a:ext uri="{9D8B030D-6E8A-4147-A177-3AD203B41FA5}">
                      <a16:colId xmlns:a16="http://schemas.microsoft.com/office/drawing/2014/main" val="1273545714"/>
                    </a:ext>
                  </a:extLst>
                </a:gridCol>
                <a:gridCol w="8293211">
                  <a:extLst>
                    <a:ext uri="{9D8B030D-6E8A-4147-A177-3AD203B41FA5}">
                      <a16:colId xmlns:a16="http://schemas.microsoft.com/office/drawing/2014/main" val="1578552368"/>
                    </a:ext>
                  </a:extLst>
                </a:gridCol>
                <a:gridCol w="1301528">
                  <a:extLst>
                    <a:ext uri="{9D8B030D-6E8A-4147-A177-3AD203B41FA5}">
                      <a16:colId xmlns:a16="http://schemas.microsoft.com/office/drawing/2014/main" val="1747394952"/>
                    </a:ext>
                  </a:extLst>
                </a:gridCol>
              </a:tblGrid>
              <a:tr h="321683">
                <a:tc>
                  <a:txBody>
                    <a:bodyPr/>
                    <a:lstStyle/>
                    <a:p>
                      <a:pPr algn="ctr"/>
                      <a:r>
                        <a:rPr lang="en-US" sz="1200" b="0">
                          <a:latin typeface="Gill Sans MT" panose="020B0502020104020203" pitchFamily="34" charset="0"/>
                        </a:rPr>
                        <a:t>Role </a:t>
                      </a:r>
                      <a:endParaRPr lang="en-IN" sz="1200" b="0">
                        <a:latin typeface="Gill Sans MT" panose="020B05020201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b="0" dirty="0">
                          <a:latin typeface="Gill Sans MT" panose="020B0502020104020203" pitchFamily="34" charset="0"/>
                        </a:rPr>
                        <a:t>No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>
                          <a:latin typeface="Gill Sans MT" panose="020B0502020104020203" pitchFamily="34" charset="0"/>
                        </a:rPr>
                        <a:t>Brief summary of experience</a:t>
                      </a:r>
                      <a:endParaRPr lang="en-IN" sz="1200" b="0">
                        <a:latin typeface="Gill Sans MT" panose="020B05020201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b="0">
                          <a:latin typeface="Gill Sans MT" panose="020B0502020104020203" pitchFamily="34" charset="0"/>
                        </a:rPr>
                        <a:t>Loc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30997359"/>
                  </a:ext>
                </a:extLst>
              </a:tr>
              <a:tr h="64296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  <a:effectLst/>
                          <a:latin typeface="Gill Sans MT" panose="020B0502020104020203" pitchFamily="34" charset="0"/>
                        </a:rPr>
                        <a:t>Scrum Master &amp; Coordinator</a:t>
                      </a:r>
                      <a:endParaRPr lang="en-US" sz="1200" b="0">
                        <a:solidFill>
                          <a:schemeClr val="tx1"/>
                        </a:solidFill>
                        <a:effectLst/>
                        <a:latin typeface="Gill Sans MT" panose="020B0502020104020203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ymbol" panose="05050102010706020507" pitchFamily="18" charset="2"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tx1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Calibri" panose="020F0502020204030204" pitchFamily="34" charset="0"/>
                        </a:rPr>
                        <a:t>     1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US" sz="1200" b="0" kern="1200">
                          <a:solidFill>
                            <a:schemeClr val="tx1"/>
                          </a:solidFill>
                          <a:effectLst/>
                          <a:latin typeface="Gill Sans MT" panose="020B0502020104020203" pitchFamily="34" charset="0"/>
                        </a:rPr>
                        <a:t>7-10 years of experience working a Scrum Master managing Customer facing projects 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ymbol" panose="05050102010706020507" pitchFamily="18" charset="2"/>
                        <a:buChar char=""/>
                        <a:tabLst/>
                        <a:defRPr/>
                      </a:pPr>
                      <a:r>
                        <a:rPr lang="en-US" sz="1200" b="0" kern="1200">
                          <a:solidFill>
                            <a:schemeClr val="tx1"/>
                          </a:solidFill>
                          <a:effectLst/>
                          <a:latin typeface="Gill Sans MT" panose="020B0502020104020203" pitchFamily="34" charset="0"/>
                        </a:rPr>
                        <a:t>Good experience in managing Azure application development projects. 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ymbol" panose="05050102010706020507" pitchFamily="18" charset="2"/>
                        <a:buChar char=""/>
                        <a:tabLst/>
                        <a:defRPr/>
                      </a:pPr>
                      <a:r>
                        <a:rPr lang="en-US" sz="1200" b="0" kern="1200">
                          <a:solidFill>
                            <a:schemeClr val="tx1"/>
                          </a:solidFill>
                          <a:effectLst/>
                          <a:latin typeface="Gill Sans MT" panose="020B0502020104020203" pitchFamily="34" charset="0"/>
                        </a:rPr>
                        <a:t>Good experience in stakeholder and cross functional team management.</a:t>
                      </a:r>
                      <a:endParaRPr lang="en-US" sz="1200" b="0" kern="1200">
                        <a:solidFill>
                          <a:schemeClr val="tx1"/>
                        </a:solidFill>
                        <a:effectLst/>
                        <a:latin typeface="Gill Sans MT" panose="020B0502020104020203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  <a:effectLst/>
                          <a:latin typeface="Gill Sans MT" panose="020B0502020104020203" pitchFamily="34" charset="0"/>
                        </a:rPr>
                        <a:t>Offshore</a:t>
                      </a:r>
                      <a:endParaRPr lang="en-US" sz="1200" b="0">
                        <a:solidFill>
                          <a:schemeClr val="tx1"/>
                        </a:solidFill>
                        <a:effectLst/>
                        <a:latin typeface="Gill Sans MT" panose="020B0502020104020203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261787579"/>
                  </a:ext>
                </a:extLst>
              </a:tr>
              <a:tr h="968118">
                <a:tc>
                  <a:txBody>
                    <a:bodyPr/>
                    <a:lstStyle/>
                    <a:p>
                      <a:pPr marL="0" marR="0" algn="l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kern="1200" dirty="0">
                          <a:solidFill>
                            <a:schemeClr val="tx1"/>
                          </a:solidFill>
                          <a:effectLst/>
                          <a:latin typeface="Gill Sans MT" panose="020B0502020104020203" pitchFamily="34" charset="0"/>
                        </a:rPr>
                        <a:t> </a:t>
                      </a:r>
                      <a:r>
                        <a:rPr lang="en-US" sz="1200" b="0" kern="1200" dirty="0" err="1">
                          <a:solidFill>
                            <a:schemeClr val="tx1"/>
                          </a:solidFill>
                          <a:effectLst/>
                          <a:latin typeface="Gill Sans MT" panose="020B0502020104020203" pitchFamily="34" charset="0"/>
                        </a:rPr>
                        <a:t>Sr.Software</a:t>
                      </a:r>
                      <a:r>
                        <a:rPr lang="en-US" sz="1200" b="0" kern="1200" dirty="0">
                          <a:solidFill>
                            <a:schemeClr val="tx1"/>
                          </a:solidFill>
                          <a:effectLst/>
                          <a:latin typeface="Gill Sans MT" panose="020B0502020104020203" pitchFamily="34" charset="0"/>
                        </a:rPr>
                        <a:t> Engineer</a:t>
                      </a:r>
                      <a:endParaRPr lang="en-US" sz="1200" b="0" kern="1200" dirty="0">
                        <a:solidFill>
                          <a:schemeClr val="tx1"/>
                        </a:solidFill>
                        <a:effectLst/>
                        <a:latin typeface="Gill Sans MT" panose="020B0502020104020203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None/>
                      </a:pPr>
                      <a:r>
                        <a:rPr lang="en-US" sz="1200" b="0" kern="1200" dirty="0">
                          <a:solidFill>
                            <a:schemeClr val="tx1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Calibri" panose="020F0502020204030204" pitchFamily="34" charset="0"/>
                        </a:rPr>
                        <a:t>      2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US" sz="1200" b="0" kern="1200" dirty="0">
                          <a:solidFill>
                            <a:schemeClr val="tx1"/>
                          </a:solidFill>
                          <a:effectLst/>
                          <a:latin typeface="Gill Sans MT" panose="020B0502020104020203" pitchFamily="34" charset="0"/>
                        </a:rPr>
                        <a:t>5 to 6 years of Extensive experience in C# (should be strong in generics), ASP </a:t>
                      </a:r>
                      <a:r>
                        <a:rPr lang="en-US" sz="1200" b="0" kern="1200" dirty="0" err="1">
                          <a:solidFill>
                            <a:schemeClr val="tx1"/>
                          </a:solidFill>
                          <a:effectLst/>
                          <a:latin typeface="Gill Sans MT" panose="020B0502020104020203" pitchFamily="34" charset="0"/>
                        </a:rPr>
                        <a:t>.Net</a:t>
                      </a:r>
                      <a:r>
                        <a:rPr lang="en-US" sz="1200" b="0" kern="1200" dirty="0">
                          <a:solidFill>
                            <a:schemeClr val="tx1"/>
                          </a:solidFill>
                          <a:effectLst/>
                          <a:latin typeface="Gill Sans MT" panose="020B0502020104020203" pitchFamily="34" charset="0"/>
                        </a:rPr>
                        <a:t> MVC, WEB API/WCF, </a:t>
                      </a:r>
                      <a:endParaRPr lang="en-IN" sz="1200" b="0" kern="1200" dirty="0">
                        <a:solidFill>
                          <a:schemeClr val="tx1"/>
                        </a:solidFill>
                        <a:effectLst/>
                        <a:latin typeface="Gill Sans MT" panose="020B0502020104020203" pitchFamily="34" charset="0"/>
                      </a:endParaRP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US" sz="1200" b="0" kern="1200" dirty="0">
                          <a:solidFill>
                            <a:schemeClr val="tx1"/>
                          </a:solidFill>
                          <a:effectLst/>
                          <a:latin typeface="Gill Sans MT" panose="020B0502020104020203" pitchFamily="34" charset="0"/>
                        </a:rPr>
                        <a:t>Experienced in implementing Design Patterns</a:t>
                      </a:r>
                      <a:endParaRPr lang="en-IN" sz="1200" b="0" kern="1200" dirty="0">
                        <a:solidFill>
                          <a:schemeClr val="tx1"/>
                        </a:solidFill>
                        <a:effectLst/>
                        <a:latin typeface="Gill Sans MT" panose="020B0502020104020203" pitchFamily="34" charset="0"/>
                      </a:endParaRP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US" sz="1200" b="0" kern="1200" dirty="0">
                          <a:solidFill>
                            <a:schemeClr val="tx1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Experience in Angular 8+, HTML 5, CSS 3</a:t>
                      </a:r>
                      <a:endParaRPr lang="en-US" sz="1200" b="0" kern="1200" dirty="0">
                        <a:solidFill>
                          <a:schemeClr val="tx1"/>
                        </a:solidFill>
                        <a:effectLst/>
                        <a:latin typeface="Gill Sans MT" panose="020B0502020104020203" pitchFamily="34" charset="0"/>
                      </a:endParaRP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US" sz="1200" b="0" kern="1200" dirty="0">
                          <a:solidFill>
                            <a:schemeClr val="tx1"/>
                          </a:solidFill>
                          <a:effectLst/>
                          <a:latin typeface="Gill Sans MT" panose="020B0502020104020203" pitchFamily="34" charset="0"/>
                        </a:rPr>
                        <a:t>Experience in client-side scripting using </a:t>
                      </a:r>
                      <a:r>
                        <a:rPr lang="en-US" sz="1200" b="0" kern="1200" dirty="0" err="1">
                          <a:solidFill>
                            <a:schemeClr val="tx1"/>
                          </a:solidFill>
                          <a:effectLst/>
                          <a:latin typeface="Gill Sans MT" panose="020B0502020104020203" pitchFamily="34" charset="0"/>
                        </a:rPr>
                        <a:t>JQuery</a:t>
                      </a:r>
                      <a:r>
                        <a:rPr lang="en-US" sz="1200" b="0" kern="1200" dirty="0">
                          <a:solidFill>
                            <a:schemeClr val="tx1"/>
                          </a:solidFill>
                          <a:effectLst/>
                          <a:latin typeface="Gill Sans MT" panose="020B0502020104020203" pitchFamily="34" charset="0"/>
                        </a:rPr>
                        <a:t>, JavaScript</a:t>
                      </a:r>
                      <a:endParaRPr lang="en-IN" sz="1200" b="0" kern="1200" dirty="0">
                        <a:solidFill>
                          <a:schemeClr val="tx1"/>
                        </a:solidFill>
                        <a:effectLst/>
                        <a:latin typeface="Gill Sans MT" panose="020B0502020104020203" pitchFamily="34" charset="0"/>
                      </a:endParaRP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IN" sz="1200" b="0" kern="1200" dirty="0">
                          <a:solidFill>
                            <a:schemeClr val="tx1"/>
                          </a:solidFill>
                          <a:effectLst/>
                          <a:latin typeface="Gill Sans MT" panose="020B0502020104020203" pitchFamily="34" charset="0"/>
                        </a:rPr>
                        <a:t>Must demonstrate clear abilities to lead and mentor a team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US" sz="1200" b="0" kern="1200" dirty="0">
                          <a:solidFill>
                            <a:schemeClr val="tx1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Expertise in developing Unit Test cases using Unit Testing Framework, Mocking Frameworks (MOQ)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US" sz="1200" b="0" kern="1200" dirty="0">
                          <a:solidFill>
                            <a:schemeClr val="tx1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Good experience using Dependency Injection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endParaRPr lang="en-US" sz="1200" b="0" kern="1200" dirty="0">
                        <a:solidFill>
                          <a:schemeClr val="tx1"/>
                        </a:solidFill>
                        <a:effectLst/>
                        <a:latin typeface="Gill Sans MT" panose="020B0502020104020203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effectLst/>
                          <a:latin typeface="Gill Sans MT" panose="020B0502020104020203" pitchFamily="34" charset="0"/>
                        </a:rPr>
                        <a:t>Offshore</a:t>
                      </a:r>
                      <a:endParaRPr lang="en-US" sz="1200" b="0" dirty="0">
                        <a:solidFill>
                          <a:schemeClr val="tx1"/>
                        </a:solidFill>
                        <a:effectLst/>
                        <a:latin typeface="Gill Sans MT" panose="020B0502020104020203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44404802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9579263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erson using a computer sitting on top of a table&#10;&#10;Description automatically generated">
            <a:extLst>
              <a:ext uri="{FF2B5EF4-FFF2-40B4-BE49-F238E27FC236}">
                <a16:creationId xmlns:a16="http://schemas.microsoft.com/office/drawing/2014/main" id="{2E1448E7-229E-6F4A-8B76-7B2DF43C898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2231"/>
          <a:stretch/>
        </p:blipFill>
        <p:spPr>
          <a:xfrm>
            <a:off x="87" y="50"/>
            <a:ext cx="12575435" cy="6857901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7475A9E2-5FF9-0049-9023-BB4A2D163C2F}"/>
              </a:ext>
            </a:extLst>
          </p:cNvPr>
          <p:cNvSpPr/>
          <p:nvPr/>
        </p:nvSpPr>
        <p:spPr>
          <a:xfrm>
            <a:off x="89" y="4560329"/>
            <a:ext cx="12191826" cy="2297623"/>
          </a:xfrm>
          <a:prstGeom prst="rect">
            <a:avLst/>
          </a:prstGeom>
          <a:gradFill>
            <a:gsLst>
              <a:gs pos="0">
                <a:srgbClr val="6F3C99">
                  <a:alpha val="62000"/>
                </a:srgbClr>
              </a:gs>
              <a:gs pos="100000">
                <a:srgbClr val="2EB8FF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29321">
              <a:defRPr/>
            </a:pPr>
            <a:endParaRPr lang="en-US" sz="169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" name="Rectangle 14"/>
          <p:cNvSpPr>
            <a:spLocks noChangeArrowheads="1"/>
          </p:cNvSpPr>
          <p:nvPr/>
        </p:nvSpPr>
        <p:spPr bwMode="auto">
          <a:xfrm>
            <a:off x="3188958" y="5248224"/>
            <a:ext cx="5814085" cy="8836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2150" tIns="51075" rIns="102150" bIns="51075" anchor="ctr">
            <a:spAutoFit/>
          </a:bodyPr>
          <a:lstStyle/>
          <a:p>
            <a:pPr algn="ctr" defTabSz="429321">
              <a:lnSpc>
                <a:spcPct val="90000"/>
              </a:lnSpc>
              <a:buSzPct val="120000"/>
              <a:defRPr/>
            </a:pPr>
            <a:r>
              <a:rPr lang="en-US" sz="5561">
                <a:solidFill>
                  <a:prstClr val="white"/>
                </a:solidFill>
                <a:latin typeface="Futura PT Medium" panose="020B0502020204020303" pitchFamily="34" charset="77"/>
                <a:cs typeface="Segoe UI Semibold" panose="020B0702040204020203" pitchFamily="34" charset="0"/>
              </a:rPr>
              <a:t>THANK</a:t>
            </a:r>
            <a:r>
              <a:rPr lang="en-US" sz="5561">
                <a:solidFill>
                  <a:prstClr val="white"/>
                </a:solidFill>
                <a:latin typeface="Futura PT Medium" panose="020B0502020204020303" pitchFamily="34" charset="77"/>
                <a:cs typeface="Arial"/>
              </a:rPr>
              <a:t> YOU!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09640" y="1639061"/>
            <a:ext cx="3268865" cy="24516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7150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BEB6216A7EC7C49B90CF1F55995969B" ma:contentTypeVersion="10" ma:contentTypeDescription="Create a new document." ma:contentTypeScope="" ma:versionID="186e5e591e1cf5c9e9cabc205ab69a61">
  <xsd:schema xmlns:xsd="http://www.w3.org/2001/XMLSchema" xmlns:xs="http://www.w3.org/2001/XMLSchema" xmlns:p="http://schemas.microsoft.com/office/2006/metadata/properties" xmlns:ns2="3034d2bc-2a65-4a56-a52e-aeed82c98e3b" xmlns:ns3="68be9671-f1e6-45f4-8484-09c05efe86a1" targetNamespace="http://schemas.microsoft.com/office/2006/metadata/properties" ma:root="true" ma:fieldsID="3ecec7fd1e33334c836e51853494ab74" ns2:_="" ns3:_="">
    <xsd:import namespace="3034d2bc-2a65-4a56-a52e-aeed82c98e3b"/>
    <xsd:import namespace="68be9671-f1e6-45f4-8484-09c05efe86a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034d2bc-2a65-4a56-a52e-aeed82c98e3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41087d73-5bfe-4c6e-a130-3d602495565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8be9671-f1e6-45f4-8484-09c05efe86a1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ead2c85c-1235-4290-912c-5efa1fe7766b}" ma:internalName="TaxCatchAll" ma:showField="CatchAllData" ma:web="68be9671-f1e6-45f4-8484-09c05efe86a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3034d2bc-2a65-4a56-a52e-aeed82c98e3b">
      <Terms xmlns="http://schemas.microsoft.com/office/infopath/2007/PartnerControls"/>
    </lcf76f155ced4ddcb4097134ff3c332f>
    <TaxCatchAll xmlns="68be9671-f1e6-45f4-8484-09c05efe86a1" xsi:nil="true"/>
  </documentManagement>
</p:properties>
</file>

<file path=customXml/itemProps1.xml><?xml version="1.0" encoding="utf-8"?>
<ds:datastoreItem xmlns:ds="http://schemas.openxmlformats.org/officeDocument/2006/customXml" ds:itemID="{293074FB-CBAF-4BF1-BACE-00DE7C5DEBEC}">
  <ds:schemaRefs>
    <ds:schemaRef ds:uri="3034d2bc-2a65-4a56-a52e-aeed82c98e3b"/>
    <ds:schemaRef ds:uri="68be9671-f1e6-45f4-8484-09c05efe86a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C9C0F1C9-8EC4-4756-96F7-A3454540AEE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5905936-7BAF-4663-AEC2-53850F95245A}">
  <ds:schemaRefs>
    <ds:schemaRef ds:uri="3034d2bc-2a65-4a56-a52e-aeed82c98e3b"/>
    <ds:schemaRef ds:uri="68be9671-f1e6-45f4-8484-09c05efe86a1"/>
    <ds:schemaRef ds:uri="http://schemas.microsoft.com/office/2006/metadata/properties"/>
    <ds:schemaRef ds:uri="http://schemas.microsoft.com/office/infopath/2007/PartnerControls"/>
  </ds:schemaRefs>
</ds:datastoreItem>
</file>

<file path=docMetadata/LabelInfo.xml><?xml version="1.0" encoding="utf-8"?>
<clbl:labelList xmlns:clbl="http://schemas.microsoft.com/office/2020/mipLabelMetadata">
  <clbl:label id="{13085c86-4bcb-460a-a6f0-b373421c6323}" enabled="0" method="" siteId="{13085c86-4bcb-460a-a6f0-b373421c6323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1405</TotalTime>
  <Words>1008</Words>
  <Application>Microsoft Office PowerPoint</Application>
  <PresentationFormat>Widescreen</PresentationFormat>
  <Paragraphs>154</Paragraphs>
  <Slides>9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1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25" baseType="lpstr">
      <vt:lpstr>Arial</vt:lpstr>
      <vt:lpstr>Arial</vt:lpstr>
      <vt:lpstr>Arial,Sans-Serif</vt:lpstr>
      <vt:lpstr>Calibri</vt:lpstr>
      <vt:lpstr>Calibri Light</vt:lpstr>
      <vt:lpstr>Futura PT Medium</vt:lpstr>
      <vt:lpstr>Gill Sans</vt:lpstr>
      <vt:lpstr>Gill Sans MT</vt:lpstr>
      <vt:lpstr>Gill Sans Nova</vt:lpstr>
      <vt:lpstr>Segoe UI</vt:lpstr>
      <vt:lpstr>Segoe UI Light</vt:lpstr>
      <vt:lpstr>Segoe UI Semibold</vt:lpstr>
      <vt:lpstr>Symbol</vt:lpstr>
      <vt:lpstr>Wingdings</vt:lpstr>
      <vt:lpstr>Office Theme</vt:lpstr>
      <vt:lpstr>think-cell Slide</vt:lpstr>
      <vt:lpstr>PowerPoint Presentation</vt:lpstr>
      <vt:lpstr>Problem Statement &amp; Action Items </vt:lpstr>
      <vt:lpstr>PowerPoint Presentation</vt:lpstr>
      <vt:lpstr>PowerPoint Presentation</vt:lpstr>
      <vt:lpstr>Proposed Solution Touchpoints (Phase 1) – To be updated</vt:lpstr>
      <vt:lpstr>Proposed Solution Touchpoints (Phase 1) – To be updated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ibyendu Saha</dc:creator>
  <cp:lastModifiedBy>Sudarshan Reddy Chitke</cp:lastModifiedBy>
  <cp:revision>4</cp:revision>
  <dcterms:created xsi:type="dcterms:W3CDTF">2022-06-27T20:05:44Z</dcterms:created>
  <dcterms:modified xsi:type="dcterms:W3CDTF">2023-01-23T09:22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BEB6216A7EC7C49B90CF1F55995969B</vt:lpwstr>
  </property>
  <property fmtid="{D5CDD505-2E9C-101B-9397-08002B2CF9AE}" pid="3" name="MediaServiceImageTags">
    <vt:lpwstr/>
  </property>
</Properties>
</file>